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18"/>
  </p:notesMasterIdLst>
  <p:sldIdLst>
    <p:sldId id="1452" r:id="rId2"/>
    <p:sldId id="1457" r:id="rId3"/>
    <p:sldId id="1454" r:id="rId4"/>
    <p:sldId id="1455" r:id="rId5"/>
    <p:sldId id="1456" r:id="rId6"/>
    <p:sldId id="1451" r:id="rId7"/>
    <p:sldId id="410" r:id="rId8"/>
    <p:sldId id="1443" r:id="rId9"/>
    <p:sldId id="1444" r:id="rId10"/>
    <p:sldId id="1448" r:id="rId11"/>
    <p:sldId id="1338" r:id="rId12"/>
    <p:sldId id="1446" r:id="rId13"/>
    <p:sldId id="1445" r:id="rId14"/>
    <p:sldId id="1447" r:id="rId15"/>
    <p:sldId id="1449" r:id="rId16"/>
    <p:sldId id="1450" r:id="rId1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 Verrillo" initials="VV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8F"/>
    <a:srgbClr val="BCD6EE"/>
    <a:srgbClr val="DDEBF8"/>
    <a:srgbClr val="6699FF"/>
    <a:srgbClr val="FF4747"/>
    <a:srgbClr val="2ABFF0"/>
    <a:srgbClr val="9B489C"/>
    <a:srgbClr val="503291"/>
    <a:srgbClr val="FFCB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779" autoAdjust="0"/>
    <p:restoredTop sz="94660"/>
  </p:normalViewPr>
  <p:slideViewPr>
    <p:cSldViewPr snapToGrid="0">
      <p:cViewPr>
        <p:scale>
          <a:sx n="70" d="100"/>
          <a:sy n="70" d="100"/>
        </p:scale>
        <p:origin x="-384" y="-4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AB92D6-AEB3-9745-A579-CF3071DFFE59}" type="datetimeFigureOut">
              <a:rPr lang="pt-BR" smtClean="0"/>
              <a:t>20/04/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A02EEE-BA0C-8747-97F3-D52A63EC48C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47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1</a:t>
            </a:fld>
            <a:endParaRPr lang="pt-BR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2</a:t>
            </a:fld>
            <a:endParaRPr lang="pt-BR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3</a:t>
            </a:fld>
            <a:endParaRPr lang="pt-BR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4</a:t>
            </a:fld>
            <a:endParaRPr lang="pt-BR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5</a:t>
            </a:fld>
            <a:endParaRPr lang="pt-BR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7</a:t>
            </a:fld>
            <a:endParaRPr lang="pt-BR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8</a:t>
            </a:fld>
            <a:endParaRPr lang="pt-BR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691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9</a:t>
            </a:fld>
            <a:endParaRPr lang="pt-BR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5787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3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pt-BR" dirty="0"/>
          </a:p>
        </p:txBody>
      </p:sp>
      <p:sp>
        <p:nvSpPr>
          <p:cNvPr id="173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384324CA-9284-A04F-A1D9-B310DDA77AB0}" type="slidenum">
              <a:rPr lang="pt-BR">
                <a:latin typeface="Arial" charset="0"/>
              </a:rPr>
              <a:pPr/>
              <a:t>16</a:t>
            </a:fld>
            <a:endParaRPr lang="pt-BR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606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Freeform 9"/>
          <p:cNvSpPr/>
          <p:nvPr/>
        </p:nvSpPr>
        <p:spPr>
          <a:xfrm>
            <a:off x="24" y="8"/>
            <a:ext cx="12191978" cy="4571994"/>
          </a:xfrm>
          <a:custGeom>
            <a:avLst/>
            <a:gdLst/>
            <a:ahLst/>
            <a:cxnLst/>
            <a:rect l="l" t="t" r="r" b="b"/>
            <a:pathLst>
              <a:path w="12191978" h="4571994">
                <a:moveTo>
                  <a:pt x="1" y="4316129"/>
                </a:moveTo>
                <a:lnTo>
                  <a:pt x="255863" y="4571991"/>
                </a:lnTo>
                <a:lnTo>
                  <a:pt x="203619" y="4571991"/>
                </a:lnTo>
                <a:lnTo>
                  <a:pt x="1" y="4368373"/>
                </a:lnTo>
                <a:close/>
                <a:moveTo>
                  <a:pt x="12191973" y="4312831"/>
                </a:moveTo>
                <a:lnTo>
                  <a:pt x="12191972" y="4365076"/>
                </a:lnTo>
                <a:lnTo>
                  <a:pt x="11985055" y="4571992"/>
                </a:lnTo>
                <a:lnTo>
                  <a:pt x="11932811" y="4571993"/>
                </a:lnTo>
                <a:close/>
                <a:moveTo>
                  <a:pt x="11817249" y="4076816"/>
                </a:moveTo>
                <a:lnTo>
                  <a:pt x="11928074" y="4076816"/>
                </a:lnTo>
                <a:lnTo>
                  <a:pt x="11928074" y="4187641"/>
                </a:lnTo>
                <a:lnTo>
                  <a:pt x="11817249" y="4187641"/>
                </a:lnTo>
                <a:close/>
                <a:moveTo>
                  <a:pt x="10766437" y="4076816"/>
                </a:moveTo>
                <a:lnTo>
                  <a:pt x="10877262" y="4076816"/>
                </a:lnTo>
                <a:lnTo>
                  <a:pt x="10877262" y="4187641"/>
                </a:lnTo>
                <a:lnTo>
                  <a:pt x="10766437" y="4187641"/>
                </a:lnTo>
                <a:close/>
                <a:moveTo>
                  <a:pt x="9715629" y="4076816"/>
                </a:moveTo>
                <a:lnTo>
                  <a:pt x="9826454" y="4076816"/>
                </a:lnTo>
                <a:lnTo>
                  <a:pt x="9826454" y="4187641"/>
                </a:lnTo>
                <a:lnTo>
                  <a:pt x="9715629" y="4187641"/>
                </a:lnTo>
                <a:close/>
                <a:moveTo>
                  <a:pt x="8664821" y="4076816"/>
                </a:moveTo>
                <a:lnTo>
                  <a:pt x="8775646" y="4076816"/>
                </a:lnTo>
                <a:lnTo>
                  <a:pt x="8775646" y="4187641"/>
                </a:lnTo>
                <a:lnTo>
                  <a:pt x="8664821" y="4187641"/>
                </a:lnTo>
                <a:close/>
                <a:moveTo>
                  <a:pt x="7614013" y="4076816"/>
                </a:moveTo>
                <a:lnTo>
                  <a:pt x="7724838" y="4076816"/>
                </a:lnTo>
                <a:lnTo>
                  <a:pt x="7724838" y="4187641"/>
                </a:lnTo>
                <a:lnTo>
                  <a:pt x="7614013" y="4187641"/>
                </a:lnTo>
                <a:close/>
                <a:moveTo>
                  <a:pt x="6563205" y="4076816"/>
                </a:moveTo>
                <a:lnTo>
                  <a:pt x="6674030" y="4076816"/>
                </a:lnTo>
                <a:lnTo>
                  <a:pt x="6674030" y="4187641"/>
                </a:lnTo>
                <a:lnTo>
                  <a:pt x="6563205" y="4187641"/>
                </a:lnTo>
                <a:close/>
                <a:moveTo>
                  <a:pt x="5512397" y="4076816"/>
                </a:moveTo>
                <a:lnTo>
                  <a:pt x="5623222" y="4076816"/>
                </a:lnTo>
                <a:lnTo>
                  <a:pt x="5623222" y="4187641"/>
                </a:lnTo>
                <a:lnTo>
                  <a:pt x="5512397" y="4187641"/>
                </a:lnTo>
                <a:close/>
                <a:moveTo>
                  <a:pt x="4461589" y="4076816"/>
                </a:moveTo>
                <a:lnTo>
                  <a:pt x="4572414" y="4076816"/>
                </a:lnTo>
                <a:lnTo>
                  <a:pt x="4572414" y="4187641"/>
                </a:lnTo>
                <a:lnTo>
                  <a:pt x="4461589" y="4187641"/>
                </a:lnTo>
                <a:close/>
                <a:moveTo>
                  <a:pt x="3410782" y="4076816"/>
                </a:moveTo>
                <a:lnTo>
                  <a:pt x="3521608" y="4076816"/>
                </a:lnTo>
                <a:lnTo>
                  <a:pt x="3521608" y="4187641"/>
                </a:lnTo>
                <a:lnTo>
                  <a:pt x="3410782" y="4187641"/>
                </a:lnTo>
                <a:close/>
                <a:moveTo>
                  <a:pt x="2359975" y="4076816"/>
                </a:moveTo>
                <a:lnTo>
                  <a:pt x="2470800" y="4076816"/>
                </a:lnTo>
                <a:lnTo>
                  <a:pt x="2470800" y="4187641"/>
                </a:lnTo>
                <a:lnTo>
                  <a:pt x="2359975" y="4187641"/>
                </a:lnTo>
                <a:close/>
                <a:moveTo>
                  <a:pt x="1309167" y="4076816"/>
                </a:moveTo>
                <a:lnTo>
                  <a:pt x="1419992" y="4076816"/>
                </a:lnTo>
                <a:lnTo>
                  <a:pt x="1419992" y="4187641"/>
                </a:lnTo>
                <a:lnTo>
                  <a:pt x="1309167" y="4187641"/>
                </a:lnTo>
                <a:close/>
                <a:moveTo>
                  <a:pt x="258359" y="4076816"/>
                </a:moveTo>
                <a:lnTo>
                  <a:pt x="369184" y="4076816"/>
                </a:lnTo>
                <a:lnTo>
                  <a:pt x="369184" y="4187641"/>
                </a:lnTo>
                <a:lnTo>
                  <a:pt x="258359" y="4187641"/>
                </a:lnTo>
                <a:close/>
                <a:moveTo>
                  <a:pt x="11291841" y="3551209"/>
                </a:moveTo>
                <a:lnTo>
                  <a:pt x="11402666" y="3551209"/>
                </a:lnTo>
                <a:lnTo>
                  <a:pt x="11402666" y="3662034"/>
                </a:lnTo>
                <a:lnTo>
                  <a:pt x="11291841" y="3662034"/>
                </a:lnTo>
                <a:close/>
                <a:moveTo>
                  <a:pt x="10241033" y="3551209"/>
                </a:moveTo>
                <a:lnTo>
                  <a:pt x="10351858" y="3551209"/>
                </a:lnTo>
                <a:lnTo>
                  <a:pt x="10351858" y="3662034"/>
                </a:lnTo>
                <a:lnTo>
                  <a:pt x="10241033" y="3662034"/>
                </a:lnTo>
                <a:close/>
                <a:moveTo>
                  <a:pt x="9190225" y="3551209"/>
                </a:moveTo>
                <a:lnTo>
                  <a:pt x="9301050" y="3551209"/>
                </a:lnTo>
                <a:lnTo>
                  <a:pt x="9301050" y="3662034"/>
                </a:lnTo>
                <a:lnTo>
                  <a:pt x="9190225" y="3662034"/>
                </a:lnTo>
                <a:close/>
                <a:moveTo>
                  <a:pt x="8139417" y="3551209"/>
                </a:moveTo>
                <a:lnTo>
                  <a:pt x="8250242" y="3551209"/>
                </a:lnTo>
                <a:lnTo>
                  <a:pt x="8250242" y="3662034"/>
                </a:lnTo>
                <a:lnTo>
                  <a:pt x="8139417" y="3662034"/>
                </a:lnTo>
                <a:close/>
                <a:moveTo>
                  <a:pt x="7088609" y="3551209"/>
                </a:moveTo>
                <a:lnTo>
                  <a:pt x="7199434" y="3551209"/>
                </a:lnTo>
                <a:lnTo>
                  <a:pt x="7199434" y="3662034"/>
                </a:lnTo>
                <a:lnTo>
                  <a:pt x="7088609" y="3662034"/>
                </a:lnTo>
                <a:close/>
                <a:moveTo>
                  <a:pt x="6037801" y="3551209"/>
                </a:moveTo>
                <a:lnTo>
                  <a:pt x="6148626" y="3551209"/>
                </a:lnTo>
                <a:lnTo>
                  <a:pt x="6148626" y="3662034"/>
                </a:lnTo>
                <a:lnTo>
                  <a:pt x="6037801" y="3662034"/>
                </a:lnTo>
                <a:close/>
                <a:moveTo>
                  <a:pt x="4986998" y="3551209"/>
                </a:moveTo>
                <a:lnTo>
                  <a:pt x="5097826" y="3551209"/>
                </a:lnTo>
                <a:lnTo>
                  <a:pt x="5097826" y="3662034"/>
                </a:lnTo>
                <a:lnTo>
                  <a:pt x="4986998" y="3662034"/>
                </a:lnTo>
                <a:close/>
                <a:moveTo>
                  <a:pt x="3936196" y="3551209"/>
                </a:moveTo>
                <a:lnTo>
                  <a:pt x="4047020" y="3551209"/>
                </a:lnTo>
                <a:lnTo>
                  <a:pt x="4047020" y="3662034"/>
                </a:lnTo>
                <a:lnTo>
                  <a:pt x="3936196" y="3662034"/>
                </a:lnTo>
                <a:close/>
                <a:moveTo>
                  <a:pt x="2885389" y="3551209"/>
                </a:moveTo>
                <a:lnTo>
                  <a:pt x="2996214" y="3551209"/>
                </a:lnTo>
                <a:lnTo>
                  <a:pt x="2996214" y="3662034"/>
                </a:lnTo>
                <a:lnTo>
                  <a:pt x="2885389" y="3662034"/>
                </a:lnTo>
                <a:close/>
                <a:moveTo>
                  <a:pt x="1834579" y="3551209"/>
                </a:moveTo>
                <a:lnTo>
                  <a:pt x="1945404" y="3551209"/>
                </a:lnTo>
                <a:lnTo>
                  <a:pt x="1945404" y="3662034"/>
                </a:lnTo>
                <a:lnTo>
                  <a:pt x="1834579" y="3662034"/>
                </a:lnTo>
                <a:close/>
                <a:moveTo>
                  <a:pt x="783773" y="3551209"/>
                </a:moveTo>
                <a:lnTo>
                  <a:pt x="894598" y="3551209"/>
                </a:lnTo>
                <a:lnTo>
                  <a:pt x="894598" y="3662034"/>
                </a:lnTo>
                <a:lnTo>
                  <a:pt x="783773" y="3662034"/>
                </a:lnTo>
                <a:close/>
                <a:moveTo>
                  <a:pt x="2942310" y="3107960"/>
                </a:moveTo>
                <a:lnTo>
                  <a:pt x="2470811" y="3579460"/>
                </a:lnTo>
                <a:lnTo>
                  <a:pt x="2470811" y="3634896"/>
                </a:lnTo>
                <a:lnTo>
                  <a:pt x="2942311" y="4106397"/>
                </a:lnTo>
                <a:lnTo>
                  <a:pt x="3410794" y="3637915"/>
                </a:lnTo>
                <a:lnTo>
                  <a:pt x="3410794" y="3576442"/>
                </a:lnTo>
                <a:close/>
                <a:moveTo>
                  <a:pt x="840944" y="3107960"/>
                </a:moveTo>
                <a:lnTo>
                  <a:pt x="369194" y="3579710"/>
                </a:lnTo>
                <a:lnTo>
                  <a:pt x="369194" y="3634648"/>
                </a:lnTo>
                <a:lnTo>
                  <a:pt x="840944" y="4106399"/>
                </a:lnTo>
                <a:lnTo>
                  <a:pt x="1309176" y="3638165"/>
                </a:lnTo>
                <a:lnTo>
                  <a:pt x="1309176" y="3576193"/>
                </a:lnTo>
                <a:close/>
                <a:moveTo>
                  <a:pt x="3992986" y="3107959"/>
                </a:moveTo>
                <a:lnTo>
                  <a:pt x="3521621" y="3579335"/>
                </a:lnTo>
                <a:lnTo>
                  <a:pt x="3521621" y="3635021"/>
                </a:lnTo>
                <a:lnTo>
                  <a:pt x="3992986" y="4106398"/>
                </a:lnTo>
                <a:lnTo>
                  <a:pt x="4461593" y="3637778"/>
                </a:lnTo>
                <a:lnTo>
                  <a:pt x="4461593" y="3576578"/>
                </a:lnTo>
                <a:close/>
                <a:moveTo>
                  <a:pt x="1891624" y="3107959"/>
                </a:moveTo>
                <a:lnTo>
                  <a:pt x="1420001" y="3579584"/>
                </a:lnTo>
                <a:lnTo>
                  <a:pt x="1420001" y="3634774"/>
                </a:lnTo>
                <a:lnTo>
                  <a:pt x="1891623" y="4106397"/>
                </a:lnTo>
                <a:lnTo>
                  <a:pt x="2359987" y="3638040"/>
                </a:lnTo>
                <a:lnTo>
                  <a:pt x="2359987" y="3576315"/>
                </a:lnTo>
                <a:close/>
                <a:moveTo>
                  <a:pt x="8195689" y="3107959"/>
                </a:moveTo>
                <a:lnTo>
                  <a:pt x="7724838" y="3578810"/>
                </a:lnTo>
                <a:lnTo>
                  <a:pt x="7724838" y="3635541"/>
                </a:lnTo>
                <a:lnTo>
                  <a:pt x="8195691" y="4106395"/>
                </a:lnTo>
                <a:lnTo>
                  <a:pt x="8664821" y="3637265"/>
                </a:lnTo>
                <a:lnTo>
                  <a:pt x="8664821" y="3577091"/>
                </a:lnTo>
                <a:close/>
                <a:moveTo>
                  <a:pt x="5043664" y="3107959"/>
                </a:moveTo>
                <a:lnTo>
                  <a:pt x="4572419" y="3579197"/>
                </a:lnTo>
                <a:lnTo>
                  <a:pt x="4572419" y="3635159"/>
                </a:lnTo>
                <a:lnTo>
                  <a:pt x="5043662" y="4106396"/>
                </a:lnTo>
                <a:lnTo>
                  <a:pt x="5512402" y="3637650"/>
                </a:lnTo>
                <a:lnTo>
                  <a:pt x="5512402" y="3576704"/>
                </a:lnTo>
                <a:close/>
                <a:moveTo>
                  <a:pt x="6094326" y="3107958"/>
                </a:moveTo>
                <a:lnTo>
                  <a:pt x="5623226" y="3579070"/>
                </a:lnTo>
                <a:lnTo>
                  <a:pt x="5623226" y="3635285"/>
                </a:lnTo>
                <a:lnTo>
                  <a:pt x="6094326" y="4106397"/>
                </a:lnTo>
                <a:lnTo>
                  <a:pt x="6563205" y="3637518"/>
                </a:lnTo>
                <a:lnTo>
                  <a:pt x="6563205" y="3576837"/>
                </a:lnTo>
                <a:close/>
                <a:moveTo>
                  <a:pt x="9246372" y="3107957"/>
                </a:moveTo>
                <a:lnTo>
                  <a:pt x="8775646" y="3578683"/>
                </a:lnTo>
                <a:lnTo>
                  <a:pt x="8775646" y="3635671"/>
                </a:lnTo>
                <a:lnTo>
                  <a:pt x="9246369" y="4106395"/>
                </a:lnTo>
                <a:lnTo>
                  <a:pt x="9715629" y="3637135"/>
                </a:lnTo>
                <a:lnTo>
                  <a:pt x="9715629" y="3577215"/>
                </a:lnTo>
                <a:close/>
                <a:moveTo>
                  <a:pt x="7145009" y="3107957"/>
                </a:moveTo>
                <a:lnTo>
                  <a:pt x="6674030" y="3578936"/>
                </a:lnTo>
                <a:lnTo>
                  <a:pt x="6674030" y="3635418"/>
                </a:lnTo>
                <a:lnTo>
                  <a:pt x="7145007" y="4106396"/>
                </a:lnTo>
                <a:lnTo>
                  <a:pt x="7614013" y="3637390"/>
                </a:lnTo>
                <a:lnTo>
                  <a:pt x="7614013" y="3576961"/>
                </a:lnTo>
                <a:close/>
                <a:moveTo>
                  <a:pt x="11347734" y="3107957"/>
                </a:moveTo>
                <a:lnTo>
                  <a:pt x="10877262" y="3578428"/>
                </a:lnTo>
                <a:lnTo>
                  <a:pt x="10877262" y="3635922"/>
                </a:lnTo>
                <a:lnTo>
                  <a:pt x="11347735" y="4106396"/>
                </a:lnTo>
                <a:lnTo>
                  <a:pt x="11817249" y="3636882"/>
                </a:lnTo>
                <a:lnTo>
                  <a:pt x="11817249" y="3577472"/>
                </a:lnTo>
                <a:close/>
                <a:moveTo>
                  <a:pt x="10297053" y="3107955"/>
                </a:moveTo>
                <a:lnTo>
                  <a:pt x="9826454" y="3578554"/>
                </a:lnTo>
                <a:lnTo>
                  <a:pt x="9826454" y="3635794"/>
                </a:lnTo>
                <a:lnTo>
                  <a:pt x="10297054" y="4106394"/>
                </a:lnTo>
                <a:lnTo>
                  <a:pt x="10766437" y="3637011"/>
                </a:lnTo>
                <a:lnTo>
                  <a:pt x="10766437" y="3577339"/>
                </a:lnTo>
                <a:close/>
                <a:moveTo>
                  <a:pt x="11817249" y="3027334"/>
                </a:moveTo>
                <a:lnTo>
                  <a:pt x="11928074" y="3027334"/>
                </a:lnTo>
                <a:lnTo>
                  <a:pt x="11928074" y="3138159"/>
                </a:lnTo>
                <a:lnTo>
                  <a:pt x="11817249" y="3138159"/>
                </a:lnTo>
                <a:close/>
                <a:moveTo>
                  <a:pt x="10766437" y="3027334"/>
                </a:moveTo>
                <a:lnTo>
                  <a:pt x="10877262" y="3027334"/>
                </a:lnTo>
                <a:lnTo>
                  <a:pt x="10877262" y="3138159"/>
                </a:lnTo>
                <a:lnTo>
                  <a:pt x="10766437" y="3138159"/>
                </a:lnTo>
                <a:close/>
                <a:moveTo>
                  <a:pt x="9715629" y="3027334"/>
                </a:moveTo>
                <a:lnTo>
                  <a:pt x="9826454" y="3027334"/>
                </a:lnTo>
                <a:lnTo>
                  <a:pt x="9826454" y="3138159"/>
                </a:lnTo>
                <a:lnTo>
                  <a:pt x="9715629" y="3138159"/>
                </a:lnTo>
                <a:close/>
                <a:moveTo>
                  <a:pt x="8664821" y="3027334"/>
                </a:moveTo>
                <a:lnTo>
                  <a:pt x="8775646" y="3027334"/>
                </a:lnTo>
                <a:lnTo>
                  <a:pt x="8775646" y="3138159"/>
                </a:lnTo>
                <a:lnTo>
                  <a:pt x="8664821" y="3138159"/>
                </a:lnTo>
                <a:close/>
                <a:moveTo>
                  <a:pt x="7614013" y="3027334"/>
                </a:moveTo>
                <a:lnTo>
                  <a:pt x="7724838" y="3027334"/>
                </a:lnTo>
                <a:lnTo>
                  <a:pt x="7724838" y="3138159"/>
                </a:lnTo>
                <a:lnTo>
                  <a:pt x="7614013" y="3138159"/>
                </a:lnTo>
                <a:close/>
                <a:moveTo>
                  <a:pt x="6563205" y="3027334"/>
                </a:moveTo>
                <a:lnTo>
                  <a:pt x="6674030" y="3027334"/>
                </a:lnTo>
                <a:lnTo>
                  <a:pt x="6674030" y="3138159"/>
                </a:lnTo>
                <a:lnTo>
                  <a:pt x="6563205" y="3138159"/>
                </a:lnTo>
                <a:close/>
                <a:moveTo>
                  <a:pt x="5512400" y="3027334"/>
                </a:moveTo>
                <a:lnTo>
                  <a:pt x="5623225" y="3027334"/>
                </a:lnTo>
                <a:lnTo>
                  <a:pt x="5623225" y="3138159"/>
                </a:lnTo>
                <a:lnTo>
                  <a:pt x="5512400" y="3138159"/>
                </a:lnTo>
                <a:close/>
                <a:moveTo>
                  <a:pt x="4461592" y="3027334"/>
                </a:moveTo>
                <a:lnTo>
                  <a:pt x="4572417" y="3027334"/>
                </a:lnTo>
                <a:lnTo>
                  <a:pt x="4572417" y="3138159"/>
                </a:lnTo>
                <a:lnTo>
                  <a:pt x="4461592" y="3138159"/>
                </a:lnTo>
                <a:close/>
                <a:moveTo>
                  <a:pt x="3410790" y="3027334"/>
                </a:moveTo>
                <a:lnTo>
                  <a:pt x="3521616" y="3027334"/>
                </a:lnTo>
                <a:lnTo>
                  <a:pt x="3521616" y="3138159"/>
                </a:lnTo>
                <a:lnTo>
                  <a:pt x="3410790" y="3138159"/>
                </a:lnTo>
                <a:close/>
                <a:moveTo>
                  <a:pt x="2359982" y="3027334"/>
                </a:moveTo>
                <a:lnTo>
                  <a:pt x="2470807" y="3027334"/>
                </a:lnTo>
                <a:lnTo>
                  <a:pt x="2470807" y="3138159"/>
                </a:lnTo>
                <a:lnTo>
                  <a:pt x="2359982" y="3138159"/>
                </a:lnTo>
                <a:close/>
                <a:moveTo>
                  <a:pt x="1309173" y="3027334"/>
                </a:moveTo>
                <a:lnTo>
                  <a:pt x="1419997" y="3027334"/>
                </a:lnTo>
                <a:lnTo>
                  <a:pt x="1419997" y="3138159"/>
                </a:lnTo>
                <a:lnTo>
                  <a:pt x="1309173" y="3138159"/>
                </a:lnTo>
                <a:close/>
                <a:moveTo>
                  <a:pt x="258365" y="3027334"/>
                </a:moveTo>
                <a:lnTo>
                  <a:pt x="369190" y="3027334"/>
                </a:lnTo>
                <a:lnTo>
                  <a:pt x="369190" y="3138159"/>
                </a:lnTo>
                <a:lnTo>
                  <a:pt x="258365" y="3138159"/>
                </a:lnTo>
                <a:close/>
                <a:moveTo>
                  <a:pt x="10794114" y="2610895"/>
                </a:moveTo>
                <a:lnTo>
                  <a:pt x="10323174" y="3081834"/>
                </a:lnTo>
                <a:lnTo>
                  <a:pt x="10792548" y="3551209"/>
                </a:lnTo>
                <a:lnTo>
                  <a:pt x="10852239" y="3551209"/>
                </a:lnTo>
                <a:lnTo>
                  <a:pt x="11321612" y="3081835"/>
                </a:lnTo>
                <a:lnTo>
                  <a:pt x="10850672" y="2610895"/>
                </a:lnTo>
                <a:close/>
                <a:moveTo>
                  <a:pt x="9743434" y="2610895"/>
                </a:moveTo>
                <a:lnTo>
                  <a:pt x="9272494" y="3081834"/>
                </a:lnTo>
                <a:lnTo>
                  <a:pt x="9741869" y="3551209"/>
                </a:lnTo>
                <a:lnTo>
                  <a:pt x="9801555" y="3551209"/>
                </a:lnTo>
                <a:lnTo>
                  <a:pt x="10270931" y="3081833"/>
                </a:lnTo>
                <a:lnTo>
                  <a:pt x="9799992" y="2610895"/>
                </a:lnTo>
                <a:close/>
                <a:moveTo>
                  <a:pt x="8692754" y="2610895"/>
                </a:moveTo>
                <a:lnTo>
                  <a:pt x="8221811" y="3081837"/>
                </a:lnTo>
                <a:lnTo>
                  <a:pt x="8691183" y="3551209"/>
                </a:lnTo>
                <a:lnTo>
                  <a:pt x="8750876" y="3551209"/>
                </a:lnTo>
                <a:lnTo>
                  <a:pt x="9220250" y="3081835"/>
                </a:lnTo>
                <a:lnTo>
                  <a:pt x="8749310" y="2610895"/>
                </a:lnTo>
                <a:close/>
                <a:moveTo>
                  <a:pt x="7642070" y="2610895"/>
                </a:moveTo>
                <a:lnTo>
                  <a:pt x="7171131" y="3081835"/>
                </a:lnTo>
                <a:lnTo>
                  <a:pt x="7640505" y="3551209"/>
                </a:lnTo>
                <a:lnTo>
                  <a:pt x="7700194" y="3551209"/>
                </a:lnTo>
                <a:lnTo>
                  <a:pt x="8169567" y="3081836"/>
                </a:lnTo>
                <a:lnTo>
                  <a:pt x="7698625" y="2610895"/>
                </a:lnTo>
                <a:close/>
                <a:moveTo>
                  <a:pt x="6591389" y="2610895"/>
                </a:moveTo>
                <a:lnTo>
                  <a:pt x="6120448" y="3081836"/>
                </a:lnTo>
                <a:lnTo>
                  <a:pt x="6589820" y="3551209"/>
                </a:lnTo>
                <a:lnTo>
                  <a:pt x="6649514" y="3551209"/>
                </a:lnTo>
                <a:lnTo>
                  <a:pt x="7118887" y="3081836"/>
                </a:lnTo>
                <a:lnTo>
                  <a:pt x="6647947" y="2610895"/>
                </a:lnTo>
                <a:close/>
                <a:moveTo>
                  <a:pt x="5540722" y="2610895"/>
                </a:moveTo>
                <a:lnTo>
                  <a:pt x="5069790" y="3081837"/>
                </a:lnTo>
                <a:lnTo>
                  <a:pt x="5539152" y="3551209"/>
                </a:lnTo>
                <a:lnTo>
                  <a:pt x="5598843" y="3551209"/>
                </a:lnTo>
                <a:lnTo>
                  <a:pt x="6068204" y="3081836"/>
                </a:lnTo>
                <a:lnTo>
                  <a:pt x="5597274" y="2610895"/>
                </a:lnTo>
                <a:close/>
                <a:moveTo>
                  <a:pt x="4490039" y="2610895"/>
                </a:moveTo>
                <a:lnTo>
                  <a:pt x="4019108" y="3081837"/>
                </a:lnTo>
                <a:lnTo>
                  <a:pt x="4488467" y="3551209"/>
                </a:lnTo>
                <a:lnTo>
                  <a:pt x="4548162" y="3551209"/>
                </a:lnTo>
                <a:lnTo>
                  <a:pt x="5017539" y="3081837"/>
                </a:lnTo>
                <a:lnTo>
                  <a:pt x="4546591" y="2610895"/>
                </a:lnTo>
                <a:close/>
                <a:moveTo>
                  <a:pt x="3439377" y="2610895"/>
                </a:moveTo>
                <a:lnTo>
                  <a:pt x="2968431" y="3081838"/>
                </a:lnTo>
                <a:lnTo>
                  <a:pt x="3437805" y="3551209"/>
                </a:lnTo>
                <a:lnTo>
                  <a:pt x="3497502" y="3551209"/>
                </a:lnTo>
                <a:lnTo>
                  <a:pt x="3966864" y="3081837"/>
                </a:lnTo>
                <a:lnTo>
                  <a:pt x="3495931" y="2610895"/>
                </a:lnTo>
                <a:close/>
                <a:moveTo>
                  <a:pt x="2388695" y="2610895"/>
                </a:moveTo>
                <a:lnTo>
                  <a:pt x="1917746" y="3081837"/>
                </a:lnTo>
                <a:lnTo>
                  <a:pt x="2387125" y="3551209"/>
                </a:lnTo>
                <a:lnTo>
                  <a:pt x="2446819" y="3551209"/>
                </a:lnTo>
                <a:lnTo>
                  <a:pt x="2916188" y="3081838"/>
                </a:lnTo>
                <a:lnTo>
                  <a:pt x="2445246" y="2610895"/>
                </a:lnTo>
                <a:close/>
                <a:moveTo>
                  <a:pt x="1338007" y="2610895"/>
                </a:moveTo>
                <a:lnTo>
                  <a:pt x="867066" y="3081838"/>
                </a:lnTo>
                <a:lnTo>
                  <a:pt x="1336436" y="3551209"/>
                </a:lnTo>
                <a:lnTo>
                  <a:pt x="1396132" y="3551209"/>
                </a:lnTo>
                <a:lnTo>
                  <a:pt x="1865502" y="3081837"/>
                </a:lnTo>
                <a:lnTo>
                  <a:pt x="1394561" y="2610895"/>
                </a:lnTo>
                <a:close/>
                <a:moveTo>
                  <a:pt x="11291841" y="2500070"/>
                </a:moveTo>
                <a:lnTo>
                  <a:pt x="11402666" y="2500070"/>
                </a:lnTo>
                <a:lnTo>
                  <a:pt x="11402666" y="2610895"/>
                </a:lnTo>
                <a:lnTo>
                  <a:pt x="11291841" y="2610895"/>
                </a:lnTo>
                <a:close/>
                <a:moveTo>
                  <a:pt x="10241033" y="2500070"/>
                </a:moveTo>
                <a:lnTo>
                  <a:pt x="10351858" y="2500070"/>
                </a:lnTo>
                <a:lnTo>
                  <a:pt x="10351858" y="2610895"/>
                </a:lnTo>
                <a:lnTo>
                  <a:pt x="10241033" y="2610895"/>
                </a:lnTo>
                <a:close/>
                <a:moveTo>
                  <a:pt x="9190225" y="2500070"/>
                </a:moveTo>
                <a:lnTo>
                  <a:pt x="9301050" y="2500070"/>
                </a:lnTo>
                <a:lnTo>
                  <a:pt x="9301050" y="2610895"/>
                </a:lnTo>
                <a:lnTo>
                  <a:pt x="9190225" y="2610895"/>
                </a:lnTo>
                <a:close/>
                <a:moveTo>
                  <a:pt x="8139417" y="2500070"/>
                </a:moveTo>
                <a:lnTo>
                  <a:pt x="8250242" y="2500070"/>
                </a:lnTo>
                <a:lnTo>
                  <a:pt x="8250242" y="2610895"/>
                </a:lnTo>
                <a:lnTo>
                  <a:pt x="8139417" y="2610895"/>
                </a:lnTo>
                <a:close/>
                <a:moveTo>
                  <a:pt x="7088609" y="2500070"/>
                </a:moveTo>
                <a:lnTo>
                  <a:pt x="7199434" y="2500070"/>
                </a:lnTo>
                <a:lnTo>
                  <a:pt x="7199434" y="2610895"/>
                </a:lnTo>
                <a:lnTo>
                  <a:pt x="7088609" y="2610895"/>
                </a:lnTo>
                <a:close/>
                <a:moveTo>
                  <a:pt x="6037801" y="2500070"/>
                </a:moveTo>
                <a:lnTo>
                  <a:pt x="6148626" y="2500070"/>
                </a:lnTo>
                <a:lnTo>
                  <a:pt x="6148626" y="2610895"/>
                </a:lnTo>
                <a:lnTo>
                  <a:pt x="6037801" y="2610895"/>
                </a:lnTo>
                <a:close/>
                <a:moveTo>
                  <a:pt x="4987000" y="2500070"/>
                </a:moveTo>
                <a:lnTo>
                  <a:pt x="5097829" y="2500070"/>
                </a:lnTo>
                <a:lnTo>
                  <a:pt x="5097829" y="2610895"/>
                </a:lnTo>
                <a:lnTo>
                  <a:pt x="4987000" y="2610895"/>
                </a:lnTo>
                <a:close/>
                <a:moveTo>
                  <a:pt x="3936200" y="2500070"/>
                </a:moveTo>
                <a:lnTo>
                  <a:pt x="4047024" y="2500070"/>
                </a:lnTo>
                <a:lnTo>
                  <a:pt x="4047024" y="2610895"/>
                </a:lnTo>
                <a:lnTo>
                  <a:pt x="3936200" y="2610895"/>
                </a:lnTo>
                <a:close/>
                <a:moveTo>
                  <a:pt x="2885393" y="2500070"/>
                </a:moveTo>
                <a:lnTo>
                  <a:pt x="2996218" y="2500070"/>
                </a:lnTo>
                <a:lnTo>
                  <a:pt x="2996218" y="2610895"/>
                </a:lnTo>
                <a:lnTo>
                  <a:pt x="2885393" y="2610895"/>
                </a:lnTo>
                <a:close/>
                <a:moveTo>
                  <a:pt x="1834583" y="2500070"/>
                </a:moveTo>
                <a:lnTo>
                  <a:pt x="1945408" y="2500070"/>
                </a:lnTo>
                <a:lnTo>
                  <a:pt x="1945408" y="2610895"/>
                </a:lnTo>
                <a:lnTo>
                  <a:pt x="1834583" y="2610895"/>
                </a:lnTo>
                <a:close/>
                <a:moveTo>
                  <a:pt x="783777" y="2500070"/>
                </a:moveTo>
                <a:lnTo>
                  <a:pt x="894602" y="2500070"/>
                </a:lnTo>
                <a:lnTo>
                  <a:pt x="894602" y="2610895"/>
                </a:lnTo>
                <a:lnTo>
                  <a:pt x="783777" y="2610895"/>
                </a:lnTo>
                <a:close/>
                <a:moveTo>
                  <a:pt x="1891623" y="2057291"/>
                </a:moveTo>
                <a:lnTo>
                  <a:pt x="1420005" y="2528898"/>
                </a:lnTo>
                <a:lnTo>
                  <a:pt x="1420005" y="2584095"/>
                </a:lnTo>
                <a:lnTo>
                  <a:pt x="1891624" y="3055715"/>
                </a:lnTo>
                <a:lnTo>
                  <a:pt x="2359991" y="2587356"/>
                </a:lnTo>
                <a:lnTo>
                  <a:pt x="2359991" y="2525640"/>
                </a:lnTo>
                <a:close/>
                <a:moveTo>
                  <a:pt x="2942310" y="2057291"/>
                </a:moveTo>
                <a:lnTo>
                  <a:pt x="2470816" y="2528774"/>
                </a:lnTo>
                <a:lnTo>
                  <a:pt x="2470816" y="2584221"/>
                </a:lnTo>
                <a:lnTo>
                  <a:pt x="2942310" y="3055716"/>
                </a:lnTo>
                <a:lnTo>
                  <a:pt x="3410799" y="2587229"/>
                </a:lnTo>
                <a:lnTo>
                  <a:pt x="3410799" y="2525765"/>
                </a:lnTo>
                <a:close/>
                <a:moveTo>
                  <a:pt x="3992986" y="2057290"/>
                </a:moveTo>
                <a:lnTo>
                  <a:pt x="3521627" y="2528649"/>
                </a:lnTo>
                <a:lnTo>
                  <a:pt x="3521627" y="2584345"/>
                </a:lnTo>
                <a:lnTo>
                  <a:pt x="3992986" y="3055715"/>
                </a:lnTo>
                <a:lnTo>
                  <a:pt x="4461596" y="2587094"/>
                </a:lnTo>
                <a:lnTo>
                  <a:pt x="4461596" y="2525899"/>
                </a:lnTo>
                <a:close/>
                <a:moveTo>
                  <a:pt x="840944" y="2057289"/>
                </a:moveTo>
                <a:lnTo>
                  <a:pt x="369198" y="2529024"/>
                </a:lnTo>
                <a:lnTo>
                  <a:pt x="369198" y="2583969"/>
                </a:lnTo>
                <a:lnTo>
                  <a:pt x="840944" y="3055716"/>
                </a:lnTo>
                <a:lnTo>
                  <a:pt x="1309180" y="2587479"/>
                </a:lnTo>
                <a:lnTo>
                  <a:pt x="1309180" y="2525514"/>
                </a:lnTo>
                <a:close/>
                <a:moveTo>
                  <a:pt x="7145007" y="2057289"/>
                </a:moveTo>
                <a:lnTo>
                  <a:pt x="6674030" y="2528255"/>
                </a:lnTo>
                <a:lnTo>
                  <a:pt x="6674030" y="2584733"/>
                </a:lnTo>
                <a:lnTo>
                  <a:pt x="7145010" y="3055713"/>
                </a:lnTo>
                <a:lnTo>
                  <a:pt x="7614013" y="2586710"/>
                </a:lnTo>
                <a:lnTo>
                  <a:pt x="7614013" y="2526283"/>
                </a:lnTo>
                <a:close/>
                <a:moveTo>
                  <a:pt x="5043664" y="2057289"/>
                </a:moveTo>
                <a:lnTo>
                  <a:pt x="4572421" y="2528513"/>
                </a:lnTo>
                <a:lnTo>
                  <a:pt x="4572421" y="2584480"/>
                </a:lnTo>
                <a:lnTo>
                  <a:pt x="5043664" y="3055715"/>
                </a:lnTo>
                <a:lnTo>
                  <a:pt x="5512404" y="2586968"/>
                </a:lnTo>
                <a:lnTo>
                  <a:pt x="5512404" y="2526024"/>
                </a:lnTo>
                <a:close/>
                <a:moveTo>
                  <a:pt x="10297053" y="2057288"/>
                </a:moveTo>
                <a:lnTo>
                  <a:pt x="9826454" y="2527875"/>
                </a:lnTo>
                <a:lnTo>
                  <a:pt x="9826454" y="2585115"/>
                </a:lnTo>
                <a:lnTo>
                  <a:pt x="10297052" y="3055713"/>
                </a:lnTo>
                <a:lnTo>
                  <a:pt x="10766437" y="2586328"/>
                </a:lnTo>
                <a:lnTo>
                  <a:pt x="10766437" y="2526660"/>
                </a:lnTo>
                <a:close/>
                <a:moveTo>
                  <a:pt x="9246373" y="2057288"/>
                </a:moveTo>
                <a:lnTo>
                  <a:pt x="8775646" y="2528002"/>
                </a:lnTo>
                <a:lnTo>
                  <a:pt x="8775646" y="2584986"/>
                </a:lnTo>
                <a:lnTo>
                  <a:pt x="9246373" y="3055713"/>
                </a:lnTo>
                <a:lnTo>
                  <a:pt x="9715629" y="2586457"/>
                </a:lnTo>
                <a:lnTo>
                  <a:pt x="9715629" y="2526532"/>
                </a:lnTo>
                <a:close/>
                <a:moveTo>
                  <a:pt x="8195690" y="2057288"/>
                </a:moveTo>
                <a:lnTo>
                  <a:pt x="7724838" y="2528128"/>
                </a:lnTo>
                <a:lnTo>
                  <a:pt x="7724838" y="2584864"/>
                </a:lnTo>
                <a:lnTo>
                  <a:pt x="8195689" y="3055714"/>
                </a:lnTo>
                <a:lnTo>
                  <a:pt x="8664821" y="2586582"/>
                </a:lnTo>
                <a:lnTo>
                  <a:pt x="8664821" y="2526406"/>
                </a:lnTo>
                <a:close/>
                <a:moveTo>
                  <a:pt x="6094328" y="2057287"/>
                </a:moveTo>
                <a:lnTo>
                  <a:pt x="5623228" y="2528386"/>
                </a:lnTo>
                <a:lnTo>
                  <a:pt x="5623228" y="2584606"/>
                </a:lnTo>
                <a:lnTo>
                  <a:pt x="6094325" y="3055714"/>
                </a:lnTo>
                <a:lnTo>
                  <a:pt x="6563205" y="2586835"/>
                </a:lnTo>
                <a:lnTo>
                  <a:pt x="6563205" y="2526153"/>
                </a:lnTo>
                <a:close/>
                <a:moveTo>
                  <a:pt x="11347736" y="2057286"/>
                </a:moveTo>
                <a:lnTo>
                  <a:pt x="10877262" y="2527747"/>
                </a:lnTo>
                <a:lnTo>
                  <a:pt x="10877262" y="2585241"/>
                </a:lnTo>
                <a:lnTo>
                  <a:pt x="11347734" y="3055713"/>
                </a:lnTo>
                <a:lnTo>
                  <a:pt x="11817249" y="2586199"/>
                </a:lnTo>
                <a:lnTo>
                  <a:pt x="11817249" y="2526787"/>
                </a:lnTo>
                <a:close/>
                <a:moveTo>
                  <a:pt x="258363" y="1973449"/>
                </a:moveTo>
                <a:lnTo>
                  <a:pt x="369188" y="1973449"/>
                </a:lnTo>
                <a:lnTo>
                  <a:pt x="369188" y="2084274"/>
                </a:lnTo>
                <a:lnTo>
                  <a:pt x="258363" y="2084274"/>
                </a:lnTo>
                <a:close/>
                <a:moveTo>
                  <a:pt x="2359980" y="1973449"/>
                </a:moveTo>
                <a:lnTo>
                  <a:pt x="2470805" y="1973449"/>
                </a:lnTo>
                <a:lnTo>
                  <a:pt x="2470805" y="2084274"/>
                </a:lnTo>
                <a:lnTo>
                  <a:pt x="2359980" y="2084274"/>
                </a:lnTo>
                <a:close/>
                <a:moveTo>
                  <a:pt x="1309171" y="1973449"/>
                </a:moveTo>
                <a:lnTo>
                  <a:pt x="1419995" y="1973449"/>
                </a:lnTo>
                <a:lnTo>
                  <a:pt x="1419995" y="2084274"/>
                </a:lnTo>
                <a:lnTo>
                  <a:pt x="1309171" y="2084274"/>
                </a:lnTo>
                <a:close/>
                <a:moveTo>
                  <a:pt x="4461591" y="1973448"/>
                </a:moveTo>
                <a:lnTo>
                  <a:pt x="4572416" y="1973448"/>
                </a:lnTo>
                <a:lnTo>
                  <a:pt x="4572416" y="2084273"/>
                </a:lnTo>
                <a:lnTo>
                  <a:pt x="4461591" y="2084273"/>
                </a:lnTo>
                <a:close/>
                <a:moveTo>
                  <a:pt x="3410788" y="1973448"/>
                </a:moveTo>
                <a:lnTo>
                  <a:pt x="3521614" y="1973448"/>
                </a:lnTo>
                <a:lnTo>
                  <a:pt x="3521614" y="2084273"/>
                </a:lnTo>
                <a:lnTo>
                  <a:pt x="3410788" y="2084273"/>
                </a:lnTo>
                <a:close/>
                <a:moveTo>
                  <a:pt x="6563205" y="1973448"/>
                </a:moveTo>
                <a:lnTo>
                  <a:pt x="6674030" y="1973448"/>
                </a:lnTo>
                <a:lnTo>
                  <a:pt x="6674030" y="2084273"/>
                </a:lnTo>
                <a:lnTo>
                  <a:pt x="6563205" y="2084273"/>
                </a:lnTo>
                <a:close/>
                <a:moveTo>
                  <a:pt x="5512399" y="1973448"/>
                </a:moveTo>
                <a:lnTo>
                  <a:pt x="5623224" y="1973448"/>
                </a:lnTo>
                <a:lnTo>
                  <a:pt x="5623224" y="2084273"/>
                </a:lnTo>
                <a:lnTo>
                  <a:pt x="5512399" y="2084273"/>
                </a:lnTo>
                <a:close/>
                <a:moveTo>
                  <a:pt x="7614013" y="1973448"/>
                </a:moveTo>
                <a:lnTo>
                  <a:pt x="7724838" y="1973448"/>
                </a:lnTo>
                <a:lnTo>
                  <a:pt x="7724838" y="2084273"/>
                </a:lnTo>
                <a:lnTo>
                  <a:pt x="7614013" y="2084273"/>
                </a:lnTo>
                <a:close/>
                <a:moveTo>
                  <a:pt x="9715629" y="1973448"/>
                </a:moveTo>
                <a:lnTo>
                  <a:pt x="9826454" y="1973448"/>
                </a:lnTo>
                <a:lnTo>
                  <a:pt x="9826454" y="2084273"/>
                </a:lnTo>
                <a:lnTo>
                  <a:pt x="9715629" y="2084273"/>
                </a:lnTo>
                <a:close/>
                <a:moveTo>
                  <a:pt x="8664821" y="1973448"/>
                </a:moveTo>
                <a:lnTo>
                  <a:pt x="8775646" y="1973448"/>
                </a:lnTo>
                <a:lnTo>
                  <a:pt x="8775646" y="2084273"/>
                </a:lnTo>
                <a:lnTo>
                  <a:pt x="8664821" y="2084273"/>
                </a:lnTo>
                <a:close/>
                <a:moveTo>
                  <a:pt x="11817249" y="1973448"/>
                </a:moveTo>
                <a:lnTo>
                  <a:pt x="11928074" y="1973448"/>
                </a:lnTo>
                <a:lnTo>
                  <a:pt x="11928074" y="2084273"/>
                </a:lnTo>
                <a:lnTo>
                  <a:pt x="11817249" y="2084273"/>
                </a:lnTo>
                <a:close/>
                <a:moveTo>
                  <a:pt x="10766437" y="1973448"/>
                </a:moveTo>
                <a:lnTo>
                  <a:pt x="10877262" y="1973448"/>
                </a:lnTo>
                <a:lnTo>
                  <a:pt x="10877262" y="2084273"/>
                </a:lnTo>
                <a:lnTo>
                  <a:pt x="10766437" y="2084273"/>
                </a:lnTo>
                <a:close/>
                <a:moveTo>
                  <a:pt x="3441643" y="1557959"/>
                </a:moveTo>
                <a:lnTo>
                  <a:pt x="2968431" y="2031169"/>
                </a:lnTo>
                <a:lnTo>
                  <a:pt x="3437348" y="2500070"/>
                </a:lnTo>
                <a:lnTo>
                  <a:pt x="3497959" y="2500070"/>
                </a:lnTo>
                <a:lnTo>
                  <a:pt x="3966865" y="2031168"/>
                </a:lnTo>
                <a:lnTo>
                  <a:pt x="3493665" y="1557959"/>
                </a:lnTo>
                <a:close/>
                <a:moveTo>
                  <a:pt x="2390961" y="1557959"/>
                </a:moveTo>
                <a:lnTo>
                  <a:pt x="1917745" y="2031169"/>
                </a:lnTo>
                <a:lnTo>
                  <a:pt x="2386665" y="2500070"/>
                </a:lnTo>
                <a:lnTo>
                  <a:pt x="2447277" y="2500070"/>
                </a:lnTo>
                <a:lnTo>
                  <a:pt x="2916189" y="2031169"/>
                </a:lnTo>
                <a:lnTo>
                  <a:pt x="2442980" y="1557959"/>
                </a:lnTo>
                <a:close/>
                <a:moveTo>
                  <a:pt x="1340273" y="1557959"/>
                </a:moveTo>
                <a:lnTo>
                  <a:pt x="867066" y="2031167"/>
                </a:lnTo>
                <a:lnTo>
                  <a:pt x="1335980" y="2500070"/>
                </a:lnTo>
                <a:lnTo>
                  <a:pt x="1396589" y="2500070"/>
                </a:lnTo>
                <a:lnTo>
                  <a:pt x="1865501" y="2031169"/>
                </a:lnTo>
                <a:lnTo>
                  <a:pt x="1392293" y="1557959"/>
                </a:lnTo>
                <a:close/>
                <a:moveTo>
                  <a:pt x="5542986" y="1557958"/>
                </a:moveTo>
                <a:lnTo>
                  <a:pt x="5069790" y="2031167"/>
                </a:lnTo>
                <a:lnTo>
                  <a:pt x="5538694" y="2500070"/>
                </a:lnTo>
                <a:lnTo>
                  <a:pt x="5599302" y="2500070"/>
                </a:lnTo>
                <a:lnTo>
                  <a:pt x="6068206" y="2031166"/>
                </a:lnTo>
                <a:lnTo>
                  <a:pt x="5595011" y="1557958"/>
                </a:lnTo>
                <a:close/>
                <a:moveTo>
                  <a:pt x="4492305" y="1557958"/>
                </a:moveTo>
                <a:lnTo>
                  <a:pt x="4019109" y="2031168"/>
                </a:lnTo>
                <a:lnTo>
                  <a:pt x="4488010" y="2500070"/>
                </a:lnTo>
                <a:lnTo>
                  <a:pt x="4548620" y="2500070"/>
                </a:lnTo>
                <a:lnTo>
                  <a:pt x="5017539" y="2031167"/>
                </a:lnTo>
                <a:lnTo>
                  <a:pt x="4544326" y="1557958"/>
                </a:lnTo>
                <a:close/>
                <a:moveTo>
                  <a:pt x="7644337" y="1557958"/>
                </a:moveTo>
                <a:lnTo>
                  <a:pt x="7171129" y="2031167"/>
                </a:lnTo>
                <a:lnTo>
                  <a:pt x="7640044" y="2500070"/>
                </a:lnTo>
                <a:lnTo>
                  <a:pt x="7700653" y="2500070"/>
                </a:lnTo>
                <a:lnTo>
                  <a:pt x="8169569" y="2031167"/>
                </a:lnTo>
                <a:lnTo>
                  <a:pt x="7696361" y="1557958"/>
                </a:lnTo>
                <a:close/>
                <a:moveTo>
                  <a:pt x="6593656" y="1557958"/>
                </a:moveTo>
                <a:lnTo>
                  <a:pt x="6120450" y="2031165"/>
                </a:lnTo>
                <a:lnTo>
                  <a:pt x="6589366" y="2500070"/>
                </a:lnTo>
                <a:lnTo>
                  <a:pt x="6649970" y="2500070"/>
                </a:lnTo>
                <a:lnTo>
                  <a:pt x="7118885" y="2031167"/>
                </a:lnTo>
                <a:lnTo>
                  <a:pt x="6645676" y="1557958"/>
                </a:lnTo>
                <a:close/>
                <a:moveTo>
                  <a:pt x="9745703" y="1557958"/>
                </a:moveTo>
                <a:lnTo>
                  <a:pt x="9272494" y="2031167"/>
                </a:lnTo>
                <a:lnTo>
                  <a:pt x="9741408" y="2500070"/>
                </a:lnTo>
                <a:lnTo>
                  <a:pt x="9802016" y="2500070"/>
                </a:lnTo>
                <a:lnTo>
                  <a:pt x="10270931" y="2031167"/>
                </a:lnTo>
                <a:lnTo>
                  <a:pt x="9797723" y="1557958"/>
                </a:lnTo>
                <a:close/>
                <a:moveTo>
                  <a:pt x="8695019" y="1557958"/>
                </a:moveTo>
                <a:lnTo>
                  <a:pt x="8221812" y="2031166"/>
                </a:lnTo>
                <a:lnTo>
                  <a:pt x="8690730" y="2500070"/>
                </a:lnTo>
                <a:lnTo>
                  <a:pt x="8751334" y="2500070"/>
                </a:lnTo>
                <a:lnTo>
                  <a:pt x="9220250" y="2031166"/>
                </a:lnTo>
                <a:lnTo>
                  <a:pt x="8747043" y="1557958"/>
                </a:lnTo>
                <a:close/>
                <a:moveTo>
                  <a:pt x="10796383" y="1557958"/>
                </a:moveTo>
                <a:lnTo>
                  <a:pt x="10323175" y="2031166"/>
                </a:lnTo>
                <a:lnTo>
                  <a:pt x="10792091" y="2500070"/>
                </a:lnTo>
                <a:lnTo>
                  <a:pt x="10852696" y="2500070"/>
                </a:lnTo>
                <a:lnTo>
                  <a:pt x="11321614" y="2031164"/>
                </a:lnTo>
                <a:lnTo>
                  <a:pt x="10848409" y="1557958"/>
                </a:lnTo>
                <a:close/>
                <a:moveTo>
                  <a:pt x="783781" y="1447135"/>
                </a:moveTo>
                <a:lnTo>
                  <a:pt x="894606" y="1447135"/>
                </a:lnTo>
                <a:lnTo>
                  <a:pt x="894606" y="1557959"/>
                </a:lnTo>
                <a:lnTo>
                  <a:pt x="783781" y="1557959"/>
                </a:lnTo>
                <a:close/>
                <a:moveTo>
                  <a:pt x="1834586" y="1447134"/>
                </a:moveTo>
                <a:lnTo>
                  <a:pt x="1945411" y="1447134"/>
                </a:lnTo>
                <a:lnTo>
                  <a:pt x="1945411" y="1557959"/>
                </a:lnTo>
                <a:lnTo>
                  <a:pt x="1834586" y="1557959"/>
                </a:lnTo>
                <a:close/>
                <a:moveTo>
                  <a:pt x="4987002" y="1447134"/>
                </a:moveTo>
                <a:lnTo>
                  <a:pt x="5097832" y="1447134"/>
                </a:lnTo>
                <a:lnTo>
                  <a:pt x="5097832" y="1557958"/>
                </a:lnTo>
                <a:lnTo>
                  <a:pt x="4987002" y="1557958"/>
                </a:lnTo>
                <a:close/>
                <a:moveTo>
                  <a:pt x="3936204" y="1447134"/>
                </a:moveTo>
                <a:lnTo>
                  <a:pt x="4047028" y="1447134"/>
                </a:lnTo>
                <a:lnTo>
                  <a:pt x="4047028" y="1557959"/>
                </a:lnTo>
                <a:lnTo>
                  <a:pt x="3936204" y="1557959"/>
                </a:lnTo>
                <a:close/>
                <a:moveTo>
                  <a:pt x="2885398" y="1447134"/>
                </a:moveTo>
                <a:lnTo>
                  <a:pt x="2996224" y="1447134"/>
                </a:lnTo>
                <a:lnTo>
                  <a:pt x="2996224" y="1557959"/>
                </a:lnTo>
                <a:lnTo>
                  <a:pt x="2885398" y="1557959"/>
                </a:lnTo>
                <a:close/>
                <a:moveTo>
                  <a:pt x="6037801" y="1447133"/>
                </a:moveTo>
                <a:lnTo>
                  <a:pt x="6148626" y="1447133"/>
                </a:lnTo>
                <a:lnTo>
                  <a:pt x="6148626" y="1557958"/>
                </a:lnTo>
                <a:lnTo>
                  <a:pt x="6037801" y="1557958"/>
                </a:lnTo>
                <a:close/>
                <a:moveTo>
                  <a:pt x="9190225" y="1447133"/>
                </a:moveTo>
                <a:lnTo>
                  <a:pt x="9301050" y="1447133"/>
                </a:lnTo>
                <a:lnTo>
                  <a:pt x="9301050" y="1557958"/>
                </a:lnTo>
                <a:lnTo>
                  <a:pt x="9190225" y="1557958"/>
                </a:lnTo>
                <a:close/>
                <a:moveTo>
                  <a:pt x="8139417" y="1447133"/>
                </a:moveTo>
                <a:lnTo>
                  <a:pt x="8250242" y="1447133"/>
                </a:lnTo>
                <a:lnTo>
                  <a:pt x="8250242" y="1557958"/>
                </a:lnTo>
                <a:lnTo>
                  <a:pt x="8139417" y="1557958"/>
                </a:lnTo>
                <a:close/>
                <a:moveTo>
                  <a:pt x="7088609" y="1447133"/>
                </a:moveTo>
                <a:lnTo>
                  <a:pt x="7199434" y="1447133"/>
                </a:lnTo>
                <a:lnTo>
                  <a:pt x="7199434" y="1557958"/>
                </a:lnTo>
                <a:lnTo>
                  <a:pt x="7088609" y="1557958"/>
                </a:lnTo>
                <a:close/>
                <a:moveTo>
                  <a:pt x="10241033" y="1447133"/>
                </a:moveTo>
                <a:lnTo>
                  <a:pt x="10351858" y="1447133"/>
                </a:lnTo>
                <a:lnTo>
                  <a:pt x="10351858" y="1557957"/>
                </a:lnTo>
                <a:lnTo>
                  <a:pt x="10241033" y="1557957"/>
                </a:lnTo>
                <a:close/>
                <a:moveTo>
                  <a:pt x="11291841" y="1447133"/>
                </a:moveTo>
                <a:lnTo>
                  <a:pt x="11402666" y="1447133"/>
                </a:lnTo>
                <a:lnTo>
                  <a:pt x="11402666" y="1557957"/>
                </a:lnTo>
                <a:lnTo>
                  <a:pt x="11291841" y="1557957"/>
                </a:lnTo>
                <a:close/>
                <a:moveTo>
                  <a:pt x="2942310" y="1006607"/>
                </a:moveTo>
                <a:lnTo>
                  <a:pt x="2470820" y="1478100"/>
                </a:lnTo>
                <a:lnTo>
                  <a:pt x="2470820" y="1533556"/>
                </a:lnTo>
                <a:lnTo>
                  <a:pt x="2942310" y="2005047"/>
                </a:lnTo>
                <a:lnTo>
                  <a:pt x="3410804" y="1536556"/>
                </a:lnTo>
                <a:lnTo>
                  <a:pt x="3410804" y="1475099"/>
                </a:lnTo>
                <a:close/>
                <a:moveTo>
                  <a:pt x="1891623" y="1006607"/>
                </a:moveTo>
                <a:lnTo>
                  <a:pt x="1420008" y="1478224"/>
                </a:lnTo>
                <a:lnTo>
                  <a:pt x="1420008" y="1533431"/>
                </a:lnTo>
                <a:lnTo>
                  <a:pt x="1891623" y="2005047"/>
                </a:lnTo>
                <a:lnTo>
                  <a:pt x="2359996" y="1536681"/>
                </a:lnTo>
                <a:lnTo>
                  <a:pt x="2359996" y="1474975"/>
                </a:lnTo>
                <a:close/>
                <a:moveTo>
                  <a:pt x="840943" y="1006607"/>
                </a:moveTo>
                <a:lnTo>
                  <a:pt x="369202" y="1478351"/>
                </a:lnTo>
                <a:lnTo>
                  <a:pt x="369202" y="1533303"/>
                </a:lnTo>
                <a:lnTo>
                  <a:pt x="840944" y="2005046"/>
                </a:lnTo>
                <a:lnTo>
                  <a:pt x="1309184" y="1536806"/>
                </a:lnTo>
                <a:lnTo>
                  <a:pt x="1309184" y="1474850"/>
                </a:lnTo>
                <a:close/>
                <a:moveTo>
                  <a:pt x="3992987" y="1006606"/>
                </a:moveTo>
                <a:lnTo>
                  <a:pt x="3521631" y="1477974"/>
                </a:lnTo>
                <a:lnTo>
                  <a:pt x="3521631" y="1533680"/>
                </a:lnTo>
                <a:lnTo>
                  <a:pt x="3992986" y="2005046"/>
                </a:lnTo>
                <a:lnTo>
                  <a:pt x="4461598" y="1536423"/>
                </a:lnTo>
                <a:lnTo>
                  <a:pt x="4461598" y="1475230"/>
                </a:lnTo>
                <a:close/>
                <a:moveTo>
                  <a:pt x="6094326" y="1006605"/>
                </a:moveTo>
                <a:lnTo>
                  <a:pt x="5623230" y="1477714"/>
                </a:lnTo>
                <a:lnTo>
                  <a:pt x="5623230" y="1533934"/>
                </a:lnTo>
                <a:lnTo>
                  <a:pt x="6094328" y="2005044"/>
                </a:lnTo>
                <a:lnTo>
                  <a:pt x="6563205" y="1536166"/>
                </a:lnTo>
                <a:lnTo>
                  <a:pt x="6563205" y="1475487"/>
                </a:lnTo>
                <a:close/>
                <a:moveTo>
                  <a:pt x="9246371" y="1006604"/>
                </a:moveTo>
                <a:lnTo>
                  <a:pt x="8775646" y="1477332"/>
                </a:lnTo>
                <a:lnTo>
                  <a:pt x="8775646" y="1534319"/>
                </a:lnTo>
                <a:lnTo>
                  <a:pt x="9246371" y="2005045"/>
                </a:lnTo>
                <a:lnTo>
                  <a:pt x="9715629" y="1535786"/>
                </a:lnTo>
                <a:lnTo>
                  <a:pt x="9715629" y="1475864"/>
                </a:lnTo>
                <a:close/>
                <a:moveTo>
                  <a:pt x="5043669" y="1006604"/>
                </a:moveTo>
                <a:lnTo>
                  <a:pt x="4572422" y="1477843"/>
                </a:lnTo>
                <a:lnTo>
                  <a:pt x="4572422" y="1533811"/>
                </a:lnTo>
                <a:lnTo>
                  <a:pt x="5043664" y="2005045"/>
                </a:lnTo>
                <a:lnTo>
                  <a:pt x="5512407" y="1536296"/>
                </a:lnTo>
                <a:lnTo>
                  <a:pt x="5512407" y="1475351"/>
                </a:lnTo>
                <a:close/>
                <a:moveTo>
                  <a:pt x="11347735" y="1006604"/>
                </a:moveTo>
                <a:lnTo>
                  <a:pt x="10877262" y="1477079"/>
                </a:lnTo>
                <a:lnTo>
                  <a:pt x="10877262" y="1534567"/>
                </a:lnTo>
                <a:lnTo>
                  <a:pt x="11347736" y="2005041"/>
                </a:lnTo>
                <a:lnTo>
                  <a:pt x="11817249" y="1535528"/>
                </a:lnTo>
                <a:lnTo>
                  <a:pt x="11817249" y="1476120"/>
                </a:lnTo>
                <a:close/>
                <a:moveTo>
                  <a:pt x="8195690" y="1006604"/>
                </a:moveTo>
                <a:lnTo>
                  <a:pt x="7724838" y="1477458"/>
                </a:lnTo>
                <a:lnTo>
                  <a:pt x="7724838" y="1534191"/>
                </a:lnTo>
                <a:lnTo>
                  <a:pt x="8195691" y="2005044"/>
                </a:lnTo>
                <a:lnTo>
                  <a:pt x="8664821" y="1535914"/>
                </a:lnTo>
                <a:lnTo>
                  <a:pt x="8664821" y="1475736"/>
                </a:lnTo>
                <a:close/>
                <a:moveTo>
                  <a:pt x="7145009" y="1006604"/>
                </a:moveTo>
                <a:lnTo>
                  <a:pt x="6674030" y="1477584"/>
                </a:lnTo>
                <a:lnTo>
                  <a:pt x="6674030" y="1534069"/>
                </a:lnTo>
                <a:lnTo>
                  <a:pt x="7145007" y="2005046"/>
                </a:lnTo>
                <a:lnTo>
                  <a:pt x="7614013" y="1536039"/>
                </a:lnTo>
                <a:lnTo>
                  <a:pt x="7614013" y="1475610"/>
                </a:lnTo>
                <a:close/>
                <a:moveTo>
                  <a:pt x="10297056" y="1006603"/>
                </a:moveTo>
                <a:lnTo>
                  <a:pt x="9826454" y="1477207"/>
                </a:lnTo>
                <a:lnTo>
                  <a:pt x="9826454" y="1534445"/>
                </a:lnTo>
                <a:lnTo>
                  <a:pt x="10297053" y="2005045"/>
                </a:lnTo>
                <a:lnTo>
                  <a:pt x="10766437" y="1535660"/>
                </a:lnTo>
                <a:lnTo>
                  <a:pt x="10766437" y="1475986"/>
                </a:lnTo>
                <a:close/>
                <a:moveTo>
                  <a:pt x="258361" y="922634"/>
                </a:moveTo>
                <a:lnTo>
                  <a:pt x="369186" y="922634"/>
                </a:lnTo>
                <a:lnTo>
                  <a:pt x="369186" y="1033459"/>
                </a:lnTo>
                <a:lnTo>
                  <a:pt x="258361" y="1033459"/>
                </a:lnTo>
                <a:close/>
                <a:moveTo>
                  <a:pt x="2359977" y="922633"/>
                </a:moveTo>
                <a:lnTo>
                  <a:pt x="2470802" y="922633"/>
                </a:lnTo>
                <a:lnTo>
                  <a:pt x="2470802" y="1033458"/>
                </a:lnTo>
                <a:lnTo>
                  <a:pt x="2359977" y="1033458"/>
                </a:lnTo>
                <a:close/>
                <a:moveTo>
                  <a:pt x="1309169" y="922633"/>
                </a:moveTo>
                <a:lnTo>
                  <a:pt x="1419993" y="922633"/>
                </a:lnTo>
                <a:lnTo>
                  <a:pt x="1419993" y="1033458"/>
                </a:lnTo>
                <a:lnTo>
                  <a:pt x="1309169" y="1033458"/>
                </a:lnTo>
                <a:close/>
                <a:moveTo>
                  <a:pt x="5512398" y="922633"/>
                </a:moveTo>
                <a:lnTo>
                  <a:pt x="5623223" y="922633"/>
                </a:lnTo>
                <a:lnTo>
                  <a:pt x="5623223" y="1033458"/>
                </a:lnTo>
                <a:lnTo>
                  <a:pt x="5512398" y="1033458"/>
                </a:lnTo>
                <a:close/>
                <a:moveTo>
                  <a:pt x="4461591" y="922633"/>
                </a:moveTo>
                <a:lnTo>
                  <a:pt x="4572415" y="922633"/>
                </a:lnTo>
                <a:lnTo>
                  <a:pt x="4572415" y="1033458"/>
                </a:lnTo>
                <a:lnTo>
                  <a:pt x="4461591" y="1033458"/>
                </a:lnTo>
                <a:close/>
                <a:moveTo>
                  <a:pt x="3410785" y="922633"/>
                </a:moveTo>
                <a:lnTo>
                  <a:pt x="3521610" y="922633"/>
                </a:lnTo>
                <a:lnTo>
                  <a:pt x="3521610" y="1033458"/>
                </a:lnTo>
                <a:lnTo>
                  <a:pt x="3410785" y="1033458"/>
                </a:lnTo>
                <a:close/>
                <a:moveTo>
                  <a:pt x="7614013" y="922633"/>
                </a:moveTo>
                <a:lnTo>
                  <a:pt x="7724838" y="922633"/>
                </a:lnTo>
                <a:lnTo>
                  <a:pt x="7724838" y="1033458"/>
                </a:lnTo>
                <a:lnTo>
                  <a:pt x="7614013" y="1033458"/>
                </a:lnTo>
                <a:close/>
                <a:moveTo>
                  <a:pt x="6563205" y="922633"/>
                </a:moveTo>
                <a:lnTo>
                  <a:pt x="6674030" y="922633"/>
                </a:lnTo>
                <a:lnTo>
                  <a:pt x="6674030" y="1033458"/>
                </a:lnTo>
                <a:lnTo>
                  <a:pt x="6563205" y="1033458"/>
                </a:lnTo>
                <a:close/>
                <a:moveTo>
                  <a:pt x="10766437" y="922633"/>
                </a:moveTo>
                <a:lnTo>
                  <a:pt x="10877262" y="922633"/>
                </a:lnTo>
                <a:lnTo>
                  <a:pt x="10877262" y="1033458"/>
                </a:lnTo>
                <a:lnTo>
                  <a:pt x="10766437" y="1033458"/>
                </a:lnTo>
                <a:close/>
                <a:moveTo>
                  <a:pt x="9715629" y="922633"/>
                </a:moveTo>
                <a:lnTo>
                  <a:pt x="9826454" y="922633"/>
                </a:lnTo>
                <a:lnTo>
                  <a:pt x="9826454" y="1033458"/>
                </a:lnTo>
                <a:lnTo>
                  <a:pt x="9715629" y="1033458"/>
                </a:lnTo>
                <a:close/>
                <a:moveTo>
                  <a:pt x="8664821" y="922633"/>
                </a:moveTo>
                <a:lnTo>
                  <a:pt x="8775646" y="922633"/>
                </a:lnTo>
                <a:lnTo>
                  <a:pt x="8775646" y="1033458"/>
                </a:lnTo>
                <a:lnTo>
                  <a:pt x="8664821" y="1033458"/>
                </a:lnTo>
                <a:close/>
                <a:moveTo>
                  <a:pt x="11817249" y="922633"/>
                </a:moveTo>
                <a:lnTo>
                  <a:pt x="11928074" y="922633"/>
                </a:lnTo>
                <a:lnTo>
                  <a:pt x="11928074" y="1033458"/>
                </a:lnTo>
                <a:lnTo>
                  <a:pt x="11817249" y="1033458"/>
                </a:lnTo>
                <a:close/>
                <a:moveTo>
                  <a:pt x="1337485" y="510062"/>
                </a:moveTo>
                <a:lnTo>
                  <a:pt x="867065" y="980486"/>
                </a:lnTo>
                <a:lnTo>
                  <a:pt x="1333712" y="1447134"/>
                </a:lnTo>
                <a:lnTo>
                  <a:pt x="1398855" y="1447134"/>
                </a:lnTo>
                <a:lnTo>
                  <a:pt x="1865501" y="980486"/>
                </a:lnTo>
                <a:lnTo>
                  <a:pt x="1395081" y="510062"/>
                </a:lnTo>
                <a:close/>
                <a:moveTo>
                  <a:pt x="2388173" y="510062"/>
                </a:moveTo>
                <a:lnTo>
                  <a:pt x="1917745" y="980486"/>
                </a:lnTo>
                <a:lnTo>
                  <a:pt x="2384399" y="1447134"/>
                </a:lnTo>
                <a:lnTo>
                  <a:pt x="2449542" y="1447134"/>
                </a:lnTo>
                <a:lnTo>
                  <a:pt x="2916189" y="980486"/>
                </a:lnTo>
                <a:lnTo>
                  <a:pt x="2445767" y="510062"/>
                </a:lnTo>
                <a:close/>
                <a:moveTo>
                  <a:pt x="3438856" y="510062"/>
                </a:moveTo>
                <a:lnTo>
                  <a:pt x="2968432" y="980486"/>
                </a:lnTo>
                <a:lnTo>
                  <a:pt x="3435083" y="1447134"/>
                </a:lnTo>
                <a:lnTo>
                  <a:pt x="3500228" y="1447134"/>
                </a:lnTo>
                <a:lnTo>
                  <a:pt x="3966865" y="980485"/>
                </a:lnTo>
                <a:lnTo>
                  <a:pt x="3496454" y="510062"/>
                </a:lnTo>
                <a:close/>
                <a:moveTo>
                  <a:pt x="4489518" y="510062"/>
                </a:moveTo>
                <a:lnTo>
                  <a:pt x="4019109" y="980485"/>
                </a:lnTo>
                <a:lnTo>
                  <a:pt x="4485744" y="1447134"/>
                </a:lnTo>
                <a:lnTo>
                  <a:pt x="4550887" y="1447134"/>
                </a:lnTo>
                <a:lnTo>
                  <a:pt x="5017543" y="980483"/>
                </a:lnTo>
                <a:lnTo>
                  <a:pt x="4547118" y="510062"/>
                </a:lnTo>
                <a:close/>
                <a:moveTo>
                  <a:pt x="5540201" y="510062"/>
                </a:moveTo>
                <a:lnTo>
                  <a:pt x="5069792" y="980483"/>
                </a:lnTo>
                <a:lnTo>
                  <a:pt x="5536431" y="1447134"/>
                </a:lnTo>
                <a:lnTo>
                  <a:pt x="5601567" y="1447134"/>
                </a:lnTo>
                <a:lnTo>
                  <a:pt x="6068204" y="980484"/>
                </a:lnTo>
                <a:lnTo>
                  <a:pt x="5597797" y="510062"/>
                </a:lnTo>
                <a:close/>
                <a:moveTo>
                  <a:pt x="6590867" y="510062"/>
                </a:moveTo>
                <a:lnTo>
                  <a:pt x="6120447" y="980484"/>
                </a:lnTo>
                <a:lnTo>
                  <a:pt x="6587095" y="1447133"/>
                </a:lnTo>
                <a:lnTo>
                  <a:pt x="6652238" y="1447133"/>
                </a:lnTo>
                <a:lnTo>
                  <a:pt x="7118887" y="980483"/>
                </a:lnTo>
                <a:lnTo>
                  <a:pt x="6648468" y="510062"/>
                </a:lnTo>
                <a:close/>
                <a:moveTo>
                  <a:pt x="7641550" y="510061"/>
                </a:moveTo>
                <a:lnTo>
                  <a:pt x="7171131" y="980482"/>
                </a:lnTo>
                <a:lnTo>
                  <a:pt x="7637780" y="1447133"/>
                </a:lnTo>
                <a:lnTo>
                  <a:pt x="7702919" y="1447133"/>
                </a:lnTo>
                <a:lnTo>
                  <a:pt x="8169568" y="980483"/>
                </a:lnTo>
                <a:lnTo>
                  <a:pt x="7699149" y="510061"/>
                </a:lnTo>
                <a:close/>
                <a:moveTo>
                  <a:pt x="8692232" y="510061"/>
                </a:moveTo>
                <a:lnTo>
                  <a:pt x="8221811" y="980484"/>
                </a:lnTo>
                <a:lnTo>
                  <a:pt x="8688459" y="1447133"/>
                </a:lnTo>
                <a:lnTo>
                  <a:pt x="8753603" y="1447133"/>
                </a:lnTo>
                <a:lnTo>
                  <a:pt x="9220250" y="980484"/>
                </a:lnTo>
                <a:lnTo>
                  <a:pt x="8749829" y="510061"/>
                </a:lnTo>
                <a:close/>
                <a:moveTo>
                  <a:pt x="10793597" y="510061"/>
                </a:moveTo>
                <a:lnTo>
                  <a:pt x="10323178" y="980482"/>
                </a:lnTo>
                <a:lnTo>
                  <a:pt x="10789828" y="1447133"/>
                </a:lnTo>
                <a:lnTo>
                  <a:pt x="10854964" y="1447133"/>
                </a:lnTo>
                <a:lnTo>
                  <a:pt x="11321613" y="980483"/>
                </a:lnTo>
                <a:lnTo>
                  <a:pt x="10851193" y="510061"/>
                </a:lnTo>
                <a:close/>
                <a:moveTo>
                  <a:pt x="9742913" y="510061"/>
                </a:moveTo>
                <a:lnTo>
                  <a:pt x="9272493" y="980483"/>
                </a:lnTo>
                <a:lnTo>
                  <a:pt x="9739141" y="1447133"/>
                </a:lnTo>
                <a:lnTo>
                  <a:pt x="9804283" y="1447133"/>
                </a:lnTo>
                <a:lnTo>
                  <a:pt x="10270933" y="980481"/>
                </a:lnTo>
                <a:lnTo>
                  <a:pt x="9800515" y="510061"/>
                </a:lnTo>
                <a:close/>
                <a:moveTo>
                  <a:pt x="783785" y="399238"/>
                </a:moveTo>
                <a:lnTo>
                  <a:pt x="894609" y="399238"/>
                </a:lnTo>
                <a:lnTo>
                  <a:pt x="894609" y="510062"/>
                </a:lnTo>
                <a:lnTo>
                  <a:pt x="783785" y="510062"/>
                </a:lnTo>
                <a:close/>
                <a:moveTo>
                  <a:pt x="2885401" y="399237"/>
                </a:moveTo>
                <a:lnTo>
                  <a:pt x="2996227" y="399237"/>
                </a:lnTo>
                <a:lnTo>
                  <a:pt x="2996227" y="510062"/>
                </a:lnTo>
                <a:lnTo>
                  <a:pt x="2885401" y="510062"/>
                </a:lnTo>
                <a:close/>
                <a:moveTo>
                  <a:pt x="1834590" y="399237"/>
                </a:moveTo>
                <a:lnTo>
                  <a:pt x="1945415" y="399237"/>
                </a:lnTo>
                <a:lnTo>
                  <a:pt x="1945415" y="510062"/>
                </a:lnTo>
                <a:lnTo>
                  <a:pt x="1834590" y="510062"/>
                </a:lnTo>
                <a:close/>
                <a:moveTo>
                  <a:pt x="3936208" y="399237"/>
                </a:moveTo>
                <a:lnTo>
                  <a:pt x="4047032" y="399237"/>
                </a:lnTo>
                <a:lnTo>
                  <a:pt x="4047032" y="510062"/>
                </a:lnTo>
                <a:lnTo>
                  <a:pt x="3936208" y="510062"/>
                </a:lnTo>
                <a:close/>
                <a:moveTo>
                  <a:pt x="4987004" y="399237"/>
                </a:moveTo>
                <a:lnTo>
                  <a:pt x="5097834" y="399237"/>
                </a:lnTo>
                <a:lnTo>
                  <a:pt x="5097834" y="510062"/>
                </a:lnTo>
                <a:lnTo>
                  <a:pt x="4987004" y="510062"/>
                </a:lnTo>
                <a:close/>
                <a:moveTo>
                  <a:pt x="6037802" y="399237"/>
                </a:moveTo>
                <a:lnTo>
                  <a:pt x="6148626" y="399237"/>
                </a:lnTo>
                <a:lnTo>
                  <a:pt x="6148626" y="510062"/>
                </a:lnTo>
                <a:lnTo>
                  <a:pt x="6037802" y="510062"/>
                </a:lnTo>
                <a:close/>
                <a:moveTo>
                  <a:pt x="7088609" y="399237"/>
                </a:moveTo>
                <a:lnTo>
                  <a:pt x="7199434" y="399237"/>
                </a:lnTo>
                <a:lnTo>
                  <a:pt x="7199434" y="510061"/>
                </a:lnTo>
                <a:lnTo>
                  <a:pt x="7088609" y="510061"/>
                </a:lnTo>
                <a:close/>
                <a:moveTo>
                  <a:pt x="8139417" y="399237"/>
                </a:moveTo>
                <a:lnTo>
                  <a:pt x="8250242" y="399237"/>
                </a:lnTo>
                <a:lnTo>
                  <a:pt x="8250242" y="510061"/>
                </a:lnTo>
                <a:lnTo>
                  <a:pt x="8139417" y="510061"/>
                </a:lnTo>
                <a:close/>
                <a:moveTo>
                  <a:pt x="9190225" y="399236"/>
                </a:moveTo>
                <a:lnTo>
                  <a:pt x="9301050" y="399236"/>
                </a:lnTo>
                <a:lnTo>
                  <a:pt x="9301050" y="510061"/>
                </a:lnTo>
                <a:lnTo>
                  <a:pt x="9190225" y="510061"/>
                </a:lnTo>
                <a:close/>
                <a:moveTo>
                  <a:pt x="10241033" y="399236"/>
                </a:moveTo>
                <a:lnTo>
                  <a:pt x="10351858" y="399236"/>
                </a:lnTo>
                <a:lnTo>
                  <a:pt x="10351858" y="510061"/>
                </a:lnTo>
                <a:lnTo>
                  <a:pt x="10241033" y="510061"/>
                </a:lnTo>
                <a:close/>
                <a:moveTo>
                  <a:pt x="11291841" y="399236"/>
                </a:moveTo>
                <a:lnTo>
                  <a:pt x="11402666" y="399236"/>
                </a:lnTo>
                <a:lnTo>
                  <a:pt x="11402666" y="510061"/>
                </a:lnTo>
                <a:lnTo>
                  <a:pt x="11291841" y="510061"/>
                </a:lnTo>
                <a:close/>
                <a:moveTo>
                  <a:pt x="6138405" y="0"/>
                </a:moveTo>
                <a:lnTo>
                  <a:pt x="6190649" y="0"/>
                </a:lnTo>
                <a:lnTo>
                  <a:pt x="6589887" y="399237"/>
                </a:lnTo>
                <a:lnTo>
                  <a:pt x="6649449" y="399237"/>
                </a:lnTo>
                <a:lnTo>
                  <a:pt x="7048684" y="2"/>
                </a:lnTo>
                <a:lnTo>
                  <a:pt x="7100928" y="2"/>
                </a:lnTo>
                <a:lnTo>
                  <a:pt x="6674030" y="426899"/>
                </a:lnTo>
                <a:lnTo>
                  <a:pt x="6674030" y="483379"/>
                </a:lnTo>
                <a:lnTo>
                  <a:pt x="7145009" y="954361"/>
                </a:lnTo>
                <a:lnTo>
                  <a:pt x="7614013" y="485355"/>
                </a:lnTo>
                <a:lnTo>
                  <a:pt x="7614013" y="424926"/>
                </a:lnTo>
                <a:lnTo>
                  <a:pt x="7189086" y="0"/>
                </a:lnTo>
                <a:lnTo>
                  <a:pt x="7241329" y="0"/>
                </a:lnTo>
                <a:lnTo>
                  <a:pt x="7640566" y="399237"/>
                </a:lnTo>
                <a:lnTo>
                  <a:pt x="7700131" y="399237"/>
                </a:lnTo>
                <a:lnTo>
                  <a:pt x="8099367" y="1"/>
                </a:lnTo>
                <a:lnTo>
                  <a:pt x="8151611" y="1"/>
                </a:lnTo>
                <a:lnTo>
                  <a:pt x="7724838" y="426774"/>
                </a:lnTo>
                <a:lnTo>
                  <a:pt x="7724838" y="483508"/>
                </a:lnTo>
                <a:lnTo>
                  <a:pt x="8195689" y="954363"/>
                </a:lnTo>
                <a:lnTo>
                  <a:pt x="8664821" y="485229"/>
                </a:lnTo>
                <a:lnTo>
                  <a:pt x="8664821" y="425053"/>
                </a:lnTo>
                <a:lnTo>
                  <a:pt x="8239767" y="0"/>
                </a:lnTo>
                <a:lnTo>
                  <a:pt x="8292011" y="0"/>
                </a:lnTo>
                <a:lnTo>
                  <a:pt x="8691248" y="399236"/>
                </a:lnTo>
                <a:lnTo>
                  <a:pt x="8750812" y="399236"/>
                </a:lnTo>
                <a:lnTo>
                  <a:pt x="9150049" y="1"/>
                </a:lnTo>
                <a:lnTo>
                  <a:pt x="9202293" y="1"/>
                </a:lnTo>
                <a:lnTo>
                  <a:pt x="8775646" y="426647"/>
                </a:lnTo>
                <a:lnTo>
                  <a:pt x="8775646" y="483635"/>
                </a:lnTo>
                <a:lnTo>
                  <a:pt x="9246372" y="954363"/>
                </a:lnTo>
                <a:lnTo>
                  <a:pt x="9715629" y="485103"/>
                </a:lnTo>
                <a:lnTo>
                  <a:pt x="9715629" y="425175"/>
                </a:lnTo>
                <a:lnTo>
                  <a:pt x="9290453" y="0"/>
                </a:lnTo>
                <a:lnTo>
                  <a:pt x="9342696" y="0"/>
                </a:lnTo>
                <a:lnTo>
                  <a:pt x="9741934" y="399236"/>
                </a:lnTo>
                <a:lnTo>
                  <a:pt x="9801496" y="399236"/>
                </a:lnTo>
                <a:lnTo>
                  <a:pt x="10200732" y="1"/>
                </a:lnTo>
                <a:lnTo>
                  <a:pt x="10252974" y="1"/>
                </a:lnTo>
                <a:lnTo>
                  <a:pt x="9826454" y="426520"/>
                </a:lnTo>
                <a:lnTo>
                  <a:pt x="9826454" y="483756"/>
                </a:lnTo>
                <a:lnTo>
                  <a:pt x="10297055" y="954360"/>
                </a:lnTo>
                <a:lnTo>
                  <a:pt x="10766437" y="484975"/>
                </a:lnTo>
                <a:lnTo>
                  <a:pt x="10766437" y="425305"/>
                </a:lnTo>
                <a:lnTo>
                  <a:pt x="10341131" y="0"/>
                </a:lnTo>
                <a:lnTo>
                  <a:pt x="10393375" y="0"/>
                </a:lnTo>
                <a:lnTo>
                  <a:pt x="10792612" y="399236"/>
                </a:lnTo>
                <a:lnTo>
                  <a:pt x="10852176" y="399236"/>
                </a:lnTo>
                <a:lnTo>
                  <a:pt x="11251411" y="3"/>
                </a:lnTo>
                <a:lnTo>
                  <a:pt x="11303657" y="3"/>
                </a:lnTo>
                <a:lnTo>
                  <a:pt x="10877262" y="426397"/>
                </a:lnTo>
                <a:lnTo>
                  <a:pt x="10877262" y="483887"/>
                </a:lnTo>
                <a:lnTo>
                  <a:pt x="11347735" y="954362"/>
                </a:lnTo>
                <a:lnTo>
                  <a:pt x="11817249" y="484846"/>
                </a:lnTo>
                <a:lnTo>
                  <a:pt x="11817249" y="425436"/>
                </a:lnTo>
                <a:lnTo>
                  <a:pt x="11391812" y="0"/>
                </a:lnTo>
                <a:lnTo>
                  <a:pt x="11444056" y="0"/>
                </a:lnTo>
                <a:lnTo>
                  <a:pt x="11843293" y="399236"/>
                </a:lnTo>
                <a:lnTo>
                  <a:pt x="11902859" y="399236"/>
                </a:lnTo>
                <a:lnTo>
                  <a:pt x="12191973" y="110123"/>
                </a:lnTo>
                <a:lnTo>
                  <a:pt x="12191973" y="162366"/>
                </a:lnTo>
                <a:lnTo>
                  <a:pt x="11928074" y="426265"/>
                </a:lnTo>
                <a:lnTo>
                  <a:pt x="11928074" y="484017"/>
                </a:lnTo>
                <a:lnTo>
                  <a:pt x="12191974" y="747926"/>
                </a:lnTo>
                <a:lnTo>
                  <a:pt x="12191974" y="800166"/>
                </a:lnTo>
                <a:lnTo>
                  <a:pt x="11901874" y="510061"/>
                </a:lnTo>
                <a:lnTo>
                  <a:pt x="11844278" y="510061"/>
                </a:lnTo>
                <a:lnTo>
                  <a:pt x="11373857" y="980483"/>
                </a:lnTo>
                <a:lnTo>
                  <a:pt x="11840505" y="1447132"/>
                </a:lnTo>
                <a:lnTo>
                  <a:pt x="11905645" y="1447132"/>
                </a:lnTo>
                <a:lnTo>
                  <a:pt x="12191976" y="1160803"/>
                </a:lnTo>
                <a:lnTo>
                  <a:pt x="12191976" y="1213046"/>
                </a:lnTo>
                <a:lnTo>
                  <a:pt x="11928074" y="1476947"/>
                </a:lnTo>
                <a:lnTo>
                  <a:pt x="11928074" y="1534702"/>
                </a:lnTo>
                <a:lnTo>
                  <a:pt x="12191975" y="1798604"/>
                </a:lnTo>
                <a:lnTo>
                  <a:pt x="12191975" y="1850847"/>
                </a:lnTo>
                <a:lnTo>
                  <a:pt x="11899087" y="1557957"/>
                </a:lnTo>
                <a:lnTo>
                  <a:pt x="11847063" y="1557957"/>
                </a:lnTo>
                <a:lnTo>
                  <a:pt x="11373858" y="2031163"/>
                </a:lnTo>
                <a:lnTo>
                  <a:pt x="11842778" y="2500070"/>
                </a:lnTo>
                <a:lnTo>
                  <a:pt x="11903378" y="2500070"/>
                </a:lnTo>
                <a:lnTo>
                  <a:pt x="12191975" y="2211473"/>
                </a:lnTo>
                <a:lnTo>
                  <a:pt x="12191974" y="2263716"/>
                </a:lnTo>
                <a:lnTo>
                  <a:pt x="11928074" y="2527616"/>
                </a:lnTo>
                <a:lnTo>
                  <a:pt x="11928074" y="2585366"/>
                </a:lnTo>
                <a:lnTo>
                  <a:pt x="12191978" y="2849270"/>
                </a:lnTo>
                <a:lnTo>
                  <a:pt x="12191977" y="2901515"/>
                </a:lnTo>
                <a:lnTo>
                  <a:pt x="11901357" y="2610895"/>
                </a:lnTo>
                <a:lnTo>
                  <a:pt x="11844795" y="2610895"/>
                </a:lnTo>
                <a:lnTo>
                  <a:pt x="11373856" y="3081835"/>
                </a:lnTo>
                <a:lnTo>
                  <a:pt x="11843230" y="3551209"/>
                </a:lnTo>
                <a:lnTo>
                  <a:pt x="11902922" y="3551209"/>
                </a:lnTo>
                <a:lnTo>
                  <a:pt x="12191974" y="3262156"/>
                </a:lnTo>
                <a:lnTo>
                  <a:pt x="12191974" y="3314400"/>
                </a:lnTo>
                <a:lnTo>
                  <a:pt x="11928074" y="3578299"/>
                </a:lnTo>
                <a:lnTo>
                  <a:pt x="11928074" y="3636053"/>
                </a:lnTo>
                <a:lnTo>
                  <a:pt x="12191975" y="3899954"/>
                </a:lnTo>
                <a:lnTo>
                  <a:pt x="12191975" y="3952198"/>
                </a:lnTo>
                <a:lnTo>
                  <a:pt x="11901811" y="3662034"/>
                </a:lnTo>
                <a:lnTo>
                  <a:pt x="11844339" y="3662034"/>
                </a:lnTo>
                <a:lnTo>
                  <a:pt x="11373856" y="4132518"/>
                </a:lnTo>
                <a:lnTo>
                  <a:pt x="11813331" y="4571992"/>
                </a:lnTo>
                <a:lnTo>
                  <a:pt x="11761089" y="4571991"/>
                </a:lnTo>
                <a:lnTo>
                  <a:pt x="11347736" y="4158638"/>
                </a:lnTo>
                <a:lnTo>
                  <a:pt x="10934382" y="4571992"/>
                </a:lnTo>
                <a:lnTo>
                  <a:pt x="10882138" y="4571992"/>
                </a:lnTo>
                <a:lnTo>
                  <a:pt x="11321614" y="4132516"/>
                </a:lnTo>
                <a:lnTo>
                  <a:pt x="10851132" y="3662034"/>
                </a:lnTo>
                <a:lnTo>
                  <a:pt x="10793656" y="3662034"/>
                </a:lnTo>
                <a:lnTo>
                  <a:pt x="10323175" y="4132515"/>
                </a:lnTo>
                <a:lnTo>
                  <a:pt x="10762651" y="4571991"/>
                </a:lnTo>
                <a:lnTo>
                  <a:pt x="10710406" y="4571992"/>
                </a:lnTo>
                <a:lnTo>
                  <a:pt x="10297052" y="4158638"/>
                </a:lnTo>
                <a:lnTo>
                  <a:pt x="9883699" y="4571992"/>
                </a:lnTo>
                <a:lnTo>
                  <a:pt x="9831456" y="4571992"/>
                </a:lnTo>
                <a:lnTo>
                  <a:pt x="10270931" y="4132517"/>
                </a:lnTo>
                <a:lnTo>
                  <a:pt x="9800448" y="3662034"/>
                </a:lnTo>
                <a:lnTo>
                  <a:pt x="9742974" y="3662034"/>
                </a:lnTo>
                <a:lnTo>
                  <a:pt x="9272491" y="4132517"/>
                </a:lnTo>
                <a:lnTo>
                  <a:pt x="9711968" y="4571993"/>
                </a:lnTo>
                <a:lnTo>
                  <a:pt x="9659723" y="4571993"/>
                </a:lnTo>
                <a:lnTo>
                  <a:pt x="9246369" y="4158639"/>
                </a:lnTo>
                <a:lnTo>
                  <a:pt x="8833016" y="4571992"/>
                </a:lnTo>
                <a:lnTo>
                  <a:pt x="8780772" y="4571992"/>
                </a:lnTo>
                <a:lnTo>
                  <a:pt x="9220247" y="4132517"/>
                </a:lnTo>
                <a:lnTo>
                  <a:pt x="8749764" y="3662034"/>
                </a:lnTo>
                <a:lnTo>
                  <a:pt x="8692294" y="3662034"/>
                </a:lnTo>
                <a:lnTo>
                  <a:pt x="8221812" y="4132516"/>
                </a:lnTo>
                <a:lnTo>
                  <a:pt x="8661288" y="4571992"/>
                </a:lnTo>
                <a:lnTo>
                  <a:pt x="8609042" y="4571992"/>
                </a:lnTo>
                <a:lnTo>
                  <a:pt x="8195689" y="4158639"/>
                </a:lnTo>
                <a:lnTo>
                  <a:pt x="7782334" y="4571994"/>
                </a:lnTo>
                <a:lnTo>
                  <a:pt x="7730092" y="4571994"/>
                </a:lnTo>
                <a:lnTo>
                  <a:pt x="8169568" y="4132518"/>
                </a:lnTo>
                <a:lnTo>
                  <a:pt x="7699085" y="3662034"/>
                </a:lnTo>
                <a:lnTo>
                  <a:pt x="7641614" y="3662034"/>
                </a:lnTo>
                <a:lnTo>
                  <a:pt x="7171129" y="4132518"/>
                </a:lnTo>
                <a:lnTo>
                  <a:pt x="7610604" y="4571993"/>
                </a:lnTo>
                <a:lnTo>
                  <a:pt x="7558360" y="4571993"/>
                </a:lnTo>
                <a:lnTo>
                  <a:pt x="7145007" y="4158640"/>
                </a:lnTo>
                <a:lnTo>
                  <a:pt x="6731655" y="4571993"/>
                </a:lnTo>
                <a:lnTo>
                  <a:pt x="6679410" y="4571993"/>
                </a:lnTo>
                <a:lnTo>
                  <a:pt x="7118885" y="4132518"/>
                </a:lnTo>
                <a:lnTo>
                  <a:pt x="6648402" y="3662034"/>
                </a:lnTo>
                <a:lnTo>
                  <a:pt x="6590932" y="3662034"/>
                </a:lnTo>
                <a:lnTo>
                  <a:pt x="6120448" y="4132519"/>
                </a:lnTo>
                <a:lnTo>
                  <a:pt x="6559922" y="4571993"/>
                </a:lnTo>
                <a:lnTo>
                  <a:pt x="6507678" y="4571993"/>
                </a:lnTo>
                <a:lnTo>
                  <a:pt x="6094326" y="4158641"/>
                </a:lnTo>
                <a:lnTo>
                  <a:pt x="5680985" y="4571992"/>
                </a:lnTo>
                <a:lnTo>
                  <a:pt x="5628744" y="4571992"/>
                </a:lnTo>
                <a:lnTo>
                  <a:pt x="6068205" y="4132519"/>
                </a:lnTo>
                <a:lnTo>
                  <a:pt x="5597731" y="3662034"/>
                </a:lnTo>
                <a:lnTo>
                  <a:pt x="5540263" y="3662034"/>
                </a:lnTo>
                <a:lnTo>
                  <a:pt x="5069789" y="4132518"/>
                </a:lnTo>
                <a:lnTo>
                  <a:pt x="5509253" y="4571993"/>
                </a:lnTo>
                <a:lnTo>
                  <a:pt x="5457012" y="4571993"/>
                </a:lnTo>
                <a:lnTo>
                  <a:pt x="5043664" y="4158640"/>
                </a:lnTo>
                <a:lnTo>
                  <a:pt x="4630303" y="4571992"/>
                </a:lnTo>
                <a:lnTo>
                  <a:pt x="4578059" y="4571992"/>
                </a:lnTo>
                <a:lnTo>
                  <a:pt x="5017539" y="4132518"/>
                </a:lnTo>
                <a:lnTo>
                  <a:pt x="4547049" y="3662034"/>
                </a:lnTo>
                <a:lnTo>
                  <a:pt x="4489581" y="3662034"/>
                </a:lnTo>
                <a:lnTo>
                  <a:pt x="4019108" y="4132519"/>
                </a:lnTo>
                <a:lnTo>
                  <a:pt x="4458568" y="4571993"/>
                </a:lnTo>
                <a:lnTo>
                  <a:pt x="4406323" y="4571993"/>
                </a:lnTo>
                <a:lnTo>
                  <a:pt x="3992985" y="4158641"/>
                </a:lnTo>
                <a:lnTo>
                  <a:pt x="3579645" y="4571992"/>
                </a:lnTo>
                <a:lnTo>
                  <a:pt x="3527403" y="4571992"/>
                </a:lnTo>
                <a:lnTo>
                  <a:pt x="3966864" y="4132520"/>
                </a:lnTo>
                <a:lnTo>
                  <a:pt x="3496388" y="3662034"/>
                </a:lnTo>
                <a:lnTo>
                  <a:pt x="3438920" y="3662034"/>
                </a:lnTo>
                <a:lnTo>
                  <a:pt x="2968432" y="4132519"/>
                </a:lnTo>
                <a:lnTo>
                  <a:pt x="3407908" y="4571992"/>
                </a:lnTo>
                <a:lnTo>
                  <a:pt x="3355663" y="4571992"/>
                </a:lnTo>
                <a:lnTo>
                  <a:pt x="2942311" y="4158641"/>
                </a:lnTo>
                <a:lnTo>
                  <a:pt x="2528961" y="4571991"/>
                </a:lnTo>
                <a:lnTo>
                  <a:pt x="2476717" y="4571991"/>
                </a:lnTo>
                <a:lnTo>
                  <a:pt x="2916189" y="4132519"/>
                </a:lnTo>
                <a:lnTo>
                  <a:pt x="2445706" y="3662034"/>
                </a:lnTo>
                <a:lnTo>
                  <a:pt x="2388237" y="3662034"/>
                </a:lnTo>
                <a:lnTo>
                  <a:pt x="1917745" y="4132520"/>
                </a:lnTo>
                <a:lnTo>
                  <a:pt x="2357225" y="4571992"/>
                </a:lnTo>
                <a:lnTo>
                  <a:pt x="2304981" y="4571993"/>
                </a:lnTo>
                <a:lnTo>
                  <a:pt x="1891623" y="4158642"/>
                </a:lnTo>
                <a:lnTo>
                  <a:pt x="1478275" y="4571991"/>
                </a:lnTo>
                <a:lnTo>
                  <a:pt x="1426031" y="4571991"/>
                </a:lnTo>
                <a:lnTo>
                  <a:pt x="1865501" y="4132520"/>
                </a:lnTo>
                <a:lnTo>
                  <a:pt x="1395017" y="3662034"/>
                </a:lnTo>
                <a:lnTo>
                  <a:pt x="1337551" y="3662034"/>
                </a:lnTo>
                <a:lnTo>
                  <a:pt x="867066" y="4132521"/>
                </a:lnTo>
                <a:lnTo>
                  <a:pt x="1306536" y="4571992"/>
                </a:lnTo>
                <a:lnTo>
                  <a:pt x="1254292" y="4571992"/>
                </a:lnTo>
                <a:lnTo>
                  <a:pt x="840944" y="4158643"/>
                </a:lnTo>
                <a:lnTo>
                  <a:pt x="427595" y="4571993"/>
                </a:lnTo>
                <a:lnTo>
                  <a:pt x="375351" y="4571993"/>
                </a:lnTo>
                <a:lnTo>
                  <a:pt x="814822" y="4132521"/>
                </a:lnTo>
                <a:lnTo>
                  <a:pt x="344336" y="3662034"/>
                </a:lnTo>
                <a:lnTo>
                  <a:pt x="286870" y="3662034"/>
                </a:lnTo>
                <a:lnTo>
                  <a:pt x="5" y="3948900"/>
                </a:lnTo>
                <a:lnTo>
                  <a:pt x="5" y="3896656"/>
                </a:lnTo>
                <a:lnTo>
                  <a:pt x="258369" y="3638291"/>
                </a:lnTo>
                <a:lnTo>
                  <a:pt x="258369" y="3576066"/>
                </a:lnTo>
                <a:lnTo>
                  <a:pt x="1" y="3317698"/>
                </a:lnTo>
                <a:lnTo>
                  <a:pt x="1" y="3265454"/>
                </a:lnTo>
                <a:lnTo>
                  <a:pt x="285756" y="3551209"/>
                </a:lnTo>
                <a:lnTo>
                  <a:pt x="345451" y="3551209"/>
                </a:lnTo>
                <a:lnTo>
                  <a:pt x="814822" y="3081838"/>
                </a:lnTo>
                <a:lnTo>
                  <a:pt x="343880" y="2610895"/>
                </a:lnTo>
                <a:lnTo>
                  <a:pt x="287328" y="2610895"/>
                </a:lnTo>
                <a:lnTo>
                  <a:pt x="6" y="2898217"/>
                </a:lnTo>
                <a:lnTo>
                  <a:pt x="6" y="2845973"/>
                </a:lnTo>
                <a:lnTo>
                  <a:pt x="258373" y="2587605"/>
                </a:lnTo>
                <a:lnTo>
                  <a:pt x="258373" y="2525388"/>
                </a:lnTo>
                <a:lnTo>
                  <a:pt x="1" y="2267015"/>
                </a:lnTo>
                <a:lnTo>
                  <a:pt x="0" y="2214770"/>
                </a:lnTo>
                <a:lnTo>
                  <a:pt x="285299" y="2500070"/>
                </a:lnTo>
                <a:lnTo>
                  <a:pt x="345909" y="2500070"/>
                </a:lnTo>
                <a:lnTo>
                  <a:pt x="814822" y="2031167"/>
                </a:lnTo>
                <a:lnTo>
                  <a:pt x="341616" y="1557959"/>
                </a:lnTo>
                <a:lnTo>
                  <a:pt x="289593" y="1557959"/>
                </a:lnTo>
                <a:lnTo>
                  <a:pt x="4" y="1847551"/>
                </a:lnTo>
                <a:lnTo>
                  <a:pt x="4" y="1795307"/>
                </a:lnTo>
                <a:lnTo>
                  <a:pt x="258377" y="1536932"/>
                </a:lnTo>
                <a:lnTo>
                  <a:pt x="258377" y="1474721"/>
                </a:lnTo>
                <a:lnTo>
                  <a:pt x="2" y="1216345"/>
                </a:lnTo>
                <a:lnTo>
                  <a:pt x="2" y="1164102"/>
                </a:lnTo>
                <a:lnTo>
                  <a:pt x="283034" y="1447135"/>
                </a:lnTo>
                <a:lnTo>
                  <a:pt x="348175" y="1447135"/>
                </a:lnTo>
                <a:lnTo>
                  <a:pt x="814821" y="980486"/>
                </a:lnTo>
                <a:lnTo>
                  <a:pt x="344401" y="510062"/>
                </a:lnTo>
                <a:lnTo>
                  <a:pt x="286805" y="510062"/>
                </a:lnTo>
                <a:lnTo>
                  <a:pt x="5" y="796868"/>
                </a:lnTo>
                <a:lnTo>
                  <a:pt x="5" y="744628"/>
                </a:lnTo>
                <a:lnTo>
                  <a:pt x="258382" y="486242"/>
                </a:lnTo>
                <a:lnTo>
                  <a:pt x="258382" y="424043"/>
                </a:lnTo>
                <a:lnTo>
                  <a:pt x="3" y="165664"/>
                </a:lnTo>
                <a:lnTo>
                  <a:pt x="3" y="113420"/>
                </a:lnTo>
                <a:lnTo>
                  <a:pt x="285820" y="399237"/>
                </a:lnTo>
                <a:lnTo>
                  <a:pt x="345386" y="399237"/>
                </a:lnTo>
                <a:lnTo>
                  <a:pt x="744622" y="2"/>
                </a:lnTo>
                <a:lnTo>
                  <a:pt x="796865" y="2"/>
                </a:lnTo>
                <a:lnTo>
                  <a:pt x="369206" y="427661"/>
                </a:lnTo>
                <a:lnTo>
                  <a:pt x="369206" y="482624"/>
                </a:lnTo>
                <a:lnTo>
                  <a:pt x="840943" y="954364"/>
                </a:lnTo>
                <a:lnTo>
                  <a:pt x="1309187" y="486116"/>
                </a:lnTo>
                <a:lnTo>
                  <a:pt x="1309187" y="424169"/>
                </a:lnTo>
                <a:lnTo>
                  <a:pt x="885019" y="0"/>
                </a:lnTo>
                <a:lnTo>
                  <a:pt x="937262" y="0"/>
                </a:lnTo>
                <a:lnTo>
                  <a:pt x="1336499" y="399237"/>
                </a:lnTo>
                <a:lnTo>
                  <a:pt x="1396066" y="399237"/>
                </a:lnTo>
                <a:lnTo>
                  <a:pt x="1795300" y="3"/>
                </a:lnTo>
                <a:lnTo>
                  <a:pt x="1847544" y="3"/>
                </a:lnTo>
                <a:lnTo>
                  <a:pt x="1420012" y="427535"/>
                </a:lnTo>
                <a:lnTo>
                  <a:pt x="1420012" y="482750"/>
                </a:lnTo>
                <a:lnTo>
                  <a:pt x="1891623" y="954365"/>
                </a:lnTo>
                <a:lnTo>
                  <a:pt x="2360001" y="485992"/>
                </a:lnTo>
                <a:lnTo>
                  <a:pt x="2360001" y="424295"/>
                </a:lnTo>
                <a:lnTo>
                  <a:pt x="1935698" y="0"/>
                </a:lnTo>
                <a:lnTo>
                  <a:pt x="1987943" y="0"/>
                </a:lnTo>
                <a:lnTo>
                  <a:pt x="2387187" y="399237"/>
                </a:lnTo>
                <a:lnTo>
                  <a:pt x="2446755" y="399237"/>
                </a:lnTo>
                <a:lnTo>
                  <a:pt x="2845991" y="2"/>
                </a:lnTo>
                <a:lnTo>
                  <a:pt x="2898236" y="2"/>
                </a:lnTo>
                <a:lnTo>
                  <a:pt x="2470825" y="427411"/>
                </a:lnTo>
                <a:lnTo>
                  <a:pt x="2470825" y="482875"/>
                </a:lnTo>
                <a:lnTo>
                  <a:pt x="2942310" y="954365"/>
                </a:lnTo>
                <a:lnTo>
                  <a:pt x="3410809" y="485866"/>
                </a:lnTo>
                <a:lnTo>
                  <a:pt x="3410809" y="424419"/>
                </a:lnTo>
                <a:lnTo>
                  <a:pt x="2986386" y="0"/>
                </a:lnTo>
                <a:lnTo>
                  <a:pt x="3038626" y="0"/>
                </a:lnTo>
                <a:lnTo>
                  <a:pt x="3437870" y="399237"/>
                </a:lnTo>
                <a:lnTo>
                  <a:pt x="3497441" y="399237"/>
                </a:lnTo>
                <a:lnTo>
                  <a:pt x="3896667" y="2"/>
                </a:lnTo>
                <a:lnTo>
                  <a:pt x="3948913" y="2"/>
                </a:lnTo>
                <a:lnTo>
                  <a:pt x="3521637" y="427285"/>
                </a:lnTo>
                <a:lnTo>
                  <a:pt x="3521637" y="483001"/>
                </a:lnTo>
                <a:lnTo>
                  <a:pt x="3992987" y="954364"/>
                </a:lnTo>
                <a:lnTo>
                  <a:pt x="4461599" y="485738"/>
                </a:lnTo>
                <a:lnTo>
                  <a:pt x="4461599" y="424543"/>
                </a:lnTo>
                <a:lnTo>
                  <a:pt x="4037068" y="1"/>
                </a:lnTo>
                <a:lnTo>
                  <a:pt x="4089312" y="1"/>
                </a:lnTo>
                <a:lnTo>
                  <a:pt x="4488534" y="399237"/>
                </a:lnTo>
                <a:lnTo>
                  <a:pt x="4548100" y="399237"/>
                </a:lnTo>
                <a:lnTo>
                  <a:pt x="4947332" y="4"/>
                </a:lnTo>
                <a:lnTo>
                  <a:pt x="4999581" y="4"/>
                </a:lnTo>
                <a:lnTo>
                  <a:pt x="4572422" y="427156"/>
                </a:lnTo>
                <a:lnTo>
                  <a:pt x="4572422" y="483126"/>
                </a:lnTo>
                <a:lnTo>
                  <a:pt x="5043667" y="954362"/>
                </a:lnTo>
                <a:lnTo>
                  <a:pt x="5512409" y="485609"/>
                </a:lnTo>
                <a:lnTo>
                  <a:pt x="5512409" y="424674"/>
                </a:lnTo>
                <a:lnTo>
                  <a:pt x="5087742" y="1"/>
                </a:lnTo>
                <a:lnTo>
                  <a:pt x="5139977" y="1"/>
                </a:lnTo>
                <a:lnTo>
                  <a:pt x="5539215" y="399237"/>
                </a:lnTo>
                <a:lnTo>
                  <a:pt x="5598781" y="399237"/>
                </a:lnTo>
                <a:lnTo>
                  <a:pt x="5998007" y="2"/>
                </a:lnTo>
                <a:lnTo>
                  <a:pt x="6050249" y="2"/>
                </a:lnTo>
                <a:lnTo>
                  <a:pt x="5623232" y="427030"/>
                </a:lnTo>
                <a:lnTo>
                  <a:pt x="5623232" y="483255"/>
                </a:lnTo>
                <a:lnTo>
                  <a:pt x="6094326" y="954363"/>
                </a:lnTo>
                <a:lnTo>
                  <a:pt x="6563205" y="485481"/>
                </a:lnTo>
                <a:lnTo>
                  <a:pt x="6563205" y="4247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AD6EE87-EBD5-4F12-A48A-63ACA297AC8F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8176143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73815-2707-4475-8F1A-B873CB631BB4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365765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762000"/>
            <a:ext cx="7581900" cy="5410200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1611542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07692" y="2565000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5807692" y="1412776"/>
            <a:ext cx="5760420" cy="1152911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28742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langle 2"/>
          <p:cNvSpPr/>
          <p:nvPr userDrawn="1"/>
        </p:nvSpPr>
        <p:spPr bwMode="gray">
          <a:xfrm>
            <a:off x="1" y="1885410"/>
            <a:ext cx="1552255" cy="818268"/>
          </a:xfrm>
          <a:custGeom>
            <a:avLst/>
            <a:gdLst/>
            <a:ahLst/>
            <a:cxnLst/>
            <a:rect l="l" t="t" r="r" b="b"/>
            <a:pathLst>
              <a:path w="1552255" h="818268">
                <a:moveTo>
                  <a:pt x="876974" y="0"/>
                </a:moveTo>
                <a:lnTo>
                  <a:pt x="891654" y="0"/>
                </a:lnTo>
                <a:lnTo>
                  <a:pt x="891959" y="0"/>
                </a:lnTo>
                <a:lnTo>
                  <a:pt x="992885" y="327"/>
                </a:lnTo>
                <a:lnTo>
                  <a:pt x="1100691" y="573"/>
                </a:lnTo>
                <a:cubicBezTo>
                  <a:pt x="1118277" y="573"/>
                  <a:pt x="1139838" y="12929"/>
                  <a:pt x="1148401" y="28230"/>
                </a:cubicBezTo>
                <a:lnTo>
                  <a:pt x="1260184" y="222241"/>
                </a:lnTo>
                <a:cubicBezTo>
                  <a:pt x="1268747" y="237460"/>
                  <a:pt x="1268747" y="262172"/>
                  <a:pt x="1259878" y="277473"/>
                </a:cubicBezTo>
                <a:lnTo>
                  <a:pt x="1184795" y="406759"/>
                </a:lnTo>
                <a:cubicBezTo>
                  <a:pt x="1179443" y="416169"/>
                  <a:pt x="1173938" y="425579"/>
                  <a:pt x="1168586" y="434989"/>
                </a:cubicBezTo>
                <a:cubicBezTo>
                  <a:pt x="1166445" y="438753"/>
                  <a:pt x="1164305" y="442435"/>
                  <a:pt x="1162164" y="446200"/>
                </a:cubicBezTo>
                <a:cubicBezTo>
                  <a:pt x="1153295" y="461419"/>
                  <a:pt x="1160329" y="473775"/>
                  <a:pt x="1177761" y="473775"/>
                </a:cubicBezTo>
                <a:lnTo>
                  <a:pt x="1439402" y="474675"/>
                </a:lnTo>
                <a:cubicBezTo>
                  <a:pt x="1456682" y="474675"/>
                  <a:pt x="1478243" y="487276"/>
                  <a:pt x="1487112" y="502578"/>
                </a:cubicBezTo>
                <a:lnTo>
                  <a:pt x="1552255" y="616398"/>
                </a:lnTo>
                <a:cubicBezTo>
                  <a:pt x="1561124" y="631618"/>
                  <a:pt x="1561124" y="656330"/>
                  <a:pt x="1552255" y="671631"/>
                </a:cubicBezTo>
                <a:lnTo>
                  <a:pt x="1486042" y="785124"/>
                </a:lnTo>
                <a:cubicBezTo>
                  <a:pt x="1477632" y="800344"/>
                  <a:pt x="1455917" y="812700"/>
                  <a:pt x="1438485" y="812700"/>
                </a:cubicBezTo>
                <a:lnTo>
                  <a:pt x="1307129" y="812127"/>
                </a:lnTo>
                <a:cubicBezTo>
                  <a:pt x="1289544" y="812127"/>
                  <a:pt x="1267982" y="799771"/>
                  <a:pt x="1259419" y="784470"/>
                </a:cubicBezTo>
                <a:lnTo>
                  <a:pt x="1193971" y="670731"/>
                </a:lnTo>
                <a:cubicBezTo>
                  <a:pt x="1185407" y="655430"/>
                  <a:pt x="1185407" y="630800"/>
                  <a:pt x="1194276" y="615498"/>
                </a:cubicBezTo>
                <a:lnTo>
                  <a:pt x="1245656" y="526717"/>
                </a:lnTo>
                <a:cubicBezTo>
                  <a:pt x="1254526" y="511497"/>
                  <a:pt x="1247491" y="499059"/>
                  <a:pt x="1229753" y="499059"/>
                </a:cubicBezTo>
                <a:lnTo>
                  <a:pt x="986615" y="498159"/>
                </a:lnTo>
                <a:lnTo>
                  <a:pt x="890736" y="498159"/>
                </a:lnTo>
                <a:cubicBezTo>
                  <a:pt x="890430" y="498159"/>
                  <a:pt x="889971" y="497914"/>
                  <a:pt x="889666" y="497914"/>
                </a:cubicBezTo>
                <a:lnTo>
                  <a:pt x="875903" y="497914"/>
                </a:lnTo>
                <a:cubicBezTo>
                  <a:pt x="858318" y="497914"/>
                  <a:pt x="836756" y="485231"/>
                  <a:pt x="828193" y="470256"/>
                </a:cubicBezTo>
                <a:lnTo>
                  <a:pt x="821312" y="458473"/>
                </a:lnTo>
                <a:lnTo>
                  <a:pt x="744700" y="325096"/>
                </a:lnTo>
                <a:cubicBezTo>
                  <a:pt x="731702" y="302676"/>
                  <a:pt x="710600" y="302676"/>
                  <a:pt x="697602" y="325096"/>
                </a:cubicBezTo>
                <a:lnTo>
                  <a:pt x="434279" y="777760"/>
                </a:lnTo>
                <a:cubicBezTo>
                  <a:pt x="421128" y="800344"/>
                  <a:pt x="389321" y="818591"/>
                  <a:pt x="363325" y="818264"/>
                </a:cubicBezTo>
                <a:lnTo>
                  <a:pt x="0" y="818035"/>
                </a:lnTo>
                <a:lnTo>
                  <a:pt x="0" y="86319"/>
                </a:lnTo>
                <a:lnTo>
                  <a:pt x="17274" y="81417"/>
                </a:lnTo>
                <a:cubicBezTo>
                  <a:pt x="65443" y="78717"/>
                  <a:pt x="234569" y="81581"/>
                  <a:pt x="343140" y="81663"/>
                </a:cubicBezTo>
                <a:lnTo>
                  <a:pt x="365160" y="81663"/>
                </a:lnTo>
                <a:cubicBezTo>
                  <a:pt x="391003" y="81990"/>
                  <a:pt x="422810" y="100156"/>
                  <a:pt x="435655" y="122903"/>
                </a:cubicBezTo>
                <a:lnTo>
                  <a:pt x="579856" y="373047"/>
                </a:lnTo>
                <a:cubicBezTo>
                  <a:pt x="592395" y="395303"/>
                  <a:pt x="613650" y="395303"/>
                  <a:pt x="626801" y="373047"/>
                </a:cubicBezTo>
                <a:lnTo>
                  <a:pt x="810608" y="59324"/>
                </a:lnTo>
                <a:lnTo>
                  <a:pt x="829111" y="27330"/>
                </a:lnTo>
                <a:cubicBezTo>
                  <a:pt x="837827" y="12356"/>
                  <a:pt x="859388" y="0"/>
                  <a:pt x="876974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37"/>
          <p:cNvSpPr>
            <a:spLocks/>
          </p:cNvSpPr>
          <p:nvPr userDrawn="1"/>
        </p:nvSpPr>
        <p:spPr bwMode="gray">
          <a:xfrm>
            <a:off x="495022" y="2449806"/>
            <a:ext cx="853273" cy="938466"/>
          </a:xfrm>
          <a:custGeom>
            <a:avLst/>
            <a:gdLst>
              <a:gd name="T0" fmla="*/ 2900 w 2953"/>
              <a:gd name="T1" fmla="*/ 2800 h 2900"/>
              <a:gd name="T2" fmla="*/ 2620 w 2953"/>
              <a:gd name="T3" fmla="*/ 2639 h 2900"/>
              <a:gd name="T4" fmla="*/ 1478 w 2953"/>
              <a:gd name="T5" fmla="*/ 2637 h 2900"/>
              <a:gd name="T6" fmla="*/ 1385 w 2953"/>
              <a:gd name="T7" fmla="*/ 2476 h 2900"/>
              <a:gd name="T8" fmla="*/ 2148 w 2953"/>
              <a:gd name="T9" fmla="*/ 1150 h 2900"/>
              <a:gd name="T10" fmla="*/ 2148 w 2953"/>
              <a:gd name="T11" fmla="*/ 828 h 2900"/>
              <a:gd name="T12" fmla="*/ 1764 w 2953"/>
              <a:gd name="T13" fmla="*/ 162 h 2900"/>
              <a:gd name="T14" fmla="*/ 1485 w 2953"/>
              <a:gd name="T15" fmla="*/ 0 h 2900"/>
              <a:gd name="T16" fmla="*/ 715 w 2953"/>
              <a:gd name="T17" fmla="*/ 0 h 2900"/>
              <a:gd name="T18" fmla="*/ 436 w 2953"/>
              <a:gd name="T19" fmla="*/ 161 h 2900"/>
              <a:gd name="T20" fmla="*/ 51 w 2953"/>
              <a:gd name="T21" fmla="*/ 827 h 2900"/>
              <a:gd name="T22" fmla="*/ 51 w 2953"/>
              <a:gd name="T23" fmla="*/ 1150 h 2900"/>
              <a:gd name="T24" fmla="*/ 436 w 2953"/>
              <a:gd name="T25" fmla="*/ 1816 h 2900"/>
              <a:gd name="T26" fmla="*/ 715 w 2953"/>
              <a:gd name="T27" fmla="*/ 1977 h 2900"/>
              <a:gd name="T28" fmla="*/ 1317 w 2953"/>
              <a:gd name="T29" fmla="*/ 1977 h 2900"/>
              <a:gd name="T30" fmla="*/ 1410 w 2953"/>
              <a:gd name="T31" fmla="*/ 2139 h 2900"/>
              <a:gd name="T32" fmla="*/ 972 w 2953"/>
              <a:gd name="T33" fmla="*/ 2900 h 2900"/>
              <a:gd name="T34" fmla="*/ 2953 w 2953"/>
              <a:gd name="T35" fmla="*/ 2893 h 2900"/>
              <a:gd name="T36" fmla="*/ 2900 w 2953"/>
              <a:gd name="T37" fmla="*/ 2800 h 2900"/>
              <a:gd name="connsiteX0" fmla="*/ 9648 w 9827"/>
              <a:gd name="connsiteY0" fmla="*/ 9655 h 11005"/>
              <a:gd name="connsiteX1" fmla="*/ 8699 w 9827"/>
              <a:gd name="connsiteY1" fmla="*/ 9100 h 11005"/>
              <a:gd name="connsiteX2" fmla="*/ 4832 w 9827"/>
              <a:gd name="connsiteY2" fmla="*/ 9093 h 11005"/>
              <a:gd name="connsiteX3" fmla="*/ 4517 w 9827"/>
              <a:gd name="connsiteY3" fmla="*/ 8538 h 11005"/>
              <a:gd name="connsiteX4" fmla="*/ 7101 w 9827"/>
              <a:gd name="connsiteY4" fmla="*/ 3966 h 11005"/>
              <a:gd name="connsiteX5" fmla="*/ 7101 w 9827"/>
              <a:gd name="connsiteY5" fmla="*/ 2855 h 11005"/>
              <a:gd name="connsiteX6" fmla="*/ 5801 w 9827"/>
              <a:gd name="connsiteY6" fmla="*/ 559 h 11005"/>
              <a:gd name="connsiteX7" fmla="*/ 4856 w 9827"/>
              <a:gd name="connsiteY7" fmla="*/ 0 h 11005"/>
              <a:gd name="connsiteX8" fmla="*/ 2248 w 9827"/>
              <a:gd name="connsiteY8" fmla="*/ 0 h 11005"/>
              <a:gd name="connsiteX9" fmla="*/ 1303 w 9827"/>
              <a:gd name="connsiteY9" fmla="*/ 555 h 11005"/>
              <a:gd name="connsiteX10" fmla="*/ 0 w 9827"/>
              <a:gd name="connsiteY10" fmla="*/ 2852 h 11005"/>
              <a:gd name="connsiteX11" fmla="*/ 0 w 9827"/>
              <a:gd name="connsiteY11" fmla="*/ 3966 h 11005"/>
              <a:gd name="connsiteX12" fmla="*/ 1303 w 9827"/>
              <a:gd name="connsiteY12" fmla="*/ 6262 h 11005"/>
              <a:gd name="connsiteX13" fmla="*/ 2248 w 9827"/>
              <a:gd name="connsiteY13" fmla="*/ 6817 h 11005"/>
              <a:gd name="connsiteX14" fmla="*/ 4287 w 9827"/>
              <a:gd name="connsiteY14" fmla="*/ 6817 h 11005"/>
              <a:gd name="connsiteX15" fmla="*/ 4602 w 9827"/>
              <a:gd name="connsiteY15" fmla="*/ 7376 h 11005"/>
              <a:gd name="connsiteX16" fmla="*/ 2497 w 9827"/>
              <a:gd name="connsiteY16" fmla="*/ 11005 h 11005"/>
              <a:gd name="connsiteX17" fmla="*/ 9827 w 9827"/>
              <a:gd name="connsiteY17" fmla="*/ 9976 h 11005"/>
              <a:gd name="connsiteX18" fmla="*/ 9648 w 9827"/>
              <a:gd name="connsiteY18" fmla="*/ 9655 h 11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827" h="11005">
                <a:moveTo>
                  <a:pt x="9648" y="9655"/>
                </a:moveTo>
                <a:cubicBezTo>
                  <a:pt x="9471" y="9348"/>
                  <a:pt x="9048" y="9100"/>
                  <a:pt x="8699" y="9100"/>
                </a:cubicBezTo>
                <a:lnTo>
                  <a:pt x="4832" y="9093"/>
                </a:lnTo>
                <a:cubicBezTo>
                  <a:pt x="4487" y="9093"/>
                  <a:pt x="4344" y="8845"/>
                  <a:pt x="4517" y="8538"/>
                </a:cubicBezTo>
                <a:lnTo>
                  <a:pt x="7101" y="3966"/>
                </a:lnTo>
                <a:cubicBezTo>
                  <a:pt x="7277" y="3662"/>
                  <a:pt x="7277" y="3159"/>
                  <a:pt x="7101" y="2855"/>
                </a:cubicBezTo>
                <a:lnTo>
                  <a:pt x="5801" y="559"/>
                </a:lnTo>
                <a:cubicBezTo>
                  <a:pt x="5628" y="252"/>
                  <a:pt x="5201" y="0"/>
                  <a:pt x="4856" y="0"/>
                </a:cubicBezTo>
                <a:lnTo>
                  <a:pt x="2248" y="0"/>
                </a:lnTo>
                <a:cubicBezTo>
                  <a:pt x="1903" y="0"/>
                  <a:pt x="1476" y="252"/>
                  <a:pt x="1303" y="555"/>
                </a:cubicBezTo>
                <a:lnTo>
                  <a:pt x="0" y="2852"/>
                </a:lnTo>
                <a:cubicBezTo>
                  <a:pt x="-173" y="3159"/>
                  <a:pt x="-173" y="3659"/>
                  <a:pt x="0" y="3966"/>
                </a:cubicBezTo>
                <a:lnTo>
                  <a:pt x="1303" y="6262"/>
                </a:lnTo>
                <a:cubicBezTo>
                  <a:pt x="1476" y="6569"/>
                  <a:pt x="1903" y="6817"/>
                  <a:pt x="2248" y="6817"/>
                </a:cubicBezTo>
                <a:lnTo>
                  <a:pt x="4287" y="6817"/>
                </a:lnTo>
                <a:cubicBezTo>
                  <a:pt x="4632" y="6817"/>
                  <a:pt x="4900" y="6678"/>
                  <a:pt x="4602" y="7376"/>
                </a:cubicBezTo>
                <a:cubicBezTo>
                  <a:pt x="4304" y="8074"/>
                  <a:pt x="2497" y="11005"/>
                  <a:pt x="2497" y="11005"/>
                </a:cubicBezTo>
                <a:cubicBezTo>
                  <a:pt x="9205" y="10981"/>
                  <a:pt x="9827" y="9976"/>
                  <a:pt x="9827" y="9976"/>
                </a:cubicBezTo>
                <a:lnTo>
                  <a:pt x="9648" y="96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34"/>
          <p:cNvSpPr>
            <a:spLocks/>
          </p:cNvSpPr>
          <p:nvPr userDrawn="1"/>
        </p:nvSpPr>
        <p:spPr bwMode="gray">
          <a:xfrm>
            <a:off x="3009726" y="3438341"/>
            <a:ext cx="957975" cy="1060490"/>
          </a:xfrm>
          <a:custGeom>
            <a:avLst/>
            <a:gdLst>
              <a:gd name="T0" fmla="*/ 1071 w 3325"/>
              <a:gd name="T1" fmla="*/ 3118 h 3410"/>
              <a:gd name="T2" fmla="*/ 1238 w 3325"/>
              <a:gd name="T3" fmla="*/ 3410 h 3410"/>
              <a:gd name="T4" fmla="*/ 1068 w 3325"/>
              <a:gd name="T5" fmla="*/ 3410 h 3410"/>
              <a:gd name="T6" fmla="*/ 52 w 3325"/>
              <a:gd name="T7" fmla="*/ 1638 h 3410"/>
              <a:gd name="T8" fmla="*/ 52 w 3325"/>
              <a:gd name="T9" fmla="*/ 1311 h 3410"/>
              <a:gd name="T10" fmla="*/ 719 w 3325"/>
              <a:gd name="T11" fmla="*/ 163 h 3410"/>
              <a:gd name="T12" fmla="*/ 1002 w 3325"/>
              <a:gd name="T13" fmla="*/ 0 h 3410"/>
              <a:gd name="T14" fmla="*/ 2330 w 3325"/>
              <a:gd name="T15" fmla="*/ 3 h 3410"/>
              <a:gd name="T16" fmla="*/ 2613 w 3325"/>
              <a:gd name="T17" fmla="*/ 167 h 3410"/>
              <a:gd name="T18" fmla="*/ 3274 w 3325"/>
              <a:gd name="T19" fmla="*/ 1318 h 3410"/>
              <a:gd name="T20" fmla="*/ 3273 w 3325"/>
              <a:gd name="T21" fmla="*/ 1645 h 3410"/>
              <a:gd name="T22" fmla="*/ 2607 w 3325"/>
              <a:gd name="T23" fmla="*/ 2793 h 3410"/>
              <a:gd name="T24" fmla="*/ 2323 w 3325"/>
              <a:gd name="T25" fmla="*/ 2956 h 3410"/>
              <a:gd name="T26" fmla="*/ 1166 w 3325"/>
              <a:gd name="T27" fmla="*/ 2955 h 3410"/>
              <a:gd name="T28" fmla="*/ 1071 w 3325"/>
              <a:gd name="T29" fmla="*/ 3118 h 3410"/>
              <a:gd name="connsiteX0" fmla="*/ 3065 w 9805"/>
              <a:gd name="connsiteY0" fmla="*/ 9144 h 10585"/>
              <a:gd name="connsiteX1" fmla="*/ 3567 w 9805"/>
              <a:gd name="connsiteY1" fmla="*/ 10000 h 10585"/>
              <a:gd name="connsiteX2" fmla="*/ 3674 w 9805"/>
              <a:gd name="connsiteY2" fmla="*/ 10460 h 10585"/>
              <a:gd name="connsiteX3" fmla="*/ 3056 w 9805"/>
              <a:gd name="connsiteY3" fmla="*/ 10000 h 10585"/>
              <a:gd name="connsiteX4" fmla="*/ 0 w 9805"/>
              <a:gd name="connsiteY4" fmla="*/ 4804 h 10585"/>
              <a:gd name="connsiteX5" fmla="*/ 0 w 9805"/>
              <a:gd name="connsiteY5" fmla="*/ 3845 h 10585"/>
              <a:gd name="connsiteX6" fmla="*/ 2006 w 9805"/>
              <a:gd name="connsiteY6" fmla="*/ 478 h 10585"/>
              <a:gd name="connsiteX7" fmla="*/ 2858 w 9805"/>
              <a:gd name="connsiteY7" fmla="*/ 0 h 10585"/>
              <a:gd name="connsiteX8" fmla="*/ 6852 w 9805"/>
              <a:gd name="connsiteY8" fmla="*/ 9 h 10585"/>
              <a:gd name="connsiteX9" fmla="*/ 7703 w 9805"/>
              <a:gd name="connsiteY9" fmla="*/ 490 h 10585"/>
              <a:gd name="connsiteX10" fmla="*/ 9691 w 9805"/>
              <a:gd name="connsiteY10" fmla="*/ 3865 h 10585"/>
              <a:gd name="connsiteX11" fmla="*/ 9688 w 9805"/>
              <a:gd name="connsiteY11" fmla="*/ 4824 h 10585"/>
              <a:gd name="connsiteX12" fmla="*/ 7685 w 9805"/>
              <a:gd name="connsiteY12" fmla="*/ 8191 h 10585"/>
              <a:gd name="connsiteX13" fmla="*/ 6830 w 9805"/>
              <a:gd name="connsiteY13" fmla="*/ 8669 h 10585"/>
              <a:gd name="connsiteX14" fmla="*/ 3351 w 9805"/>
              <a:gd name="connsiteY14" fmla="*/ 8666 h 10585"/>
              <a:gd name="connsiteX15" fmla="*/ 3065 w 9805"/>
              <a:gd name="connsiteY15" fmla="*/ 9144 h 10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805" h="10585">
                <a:moveTo>
                  <a:pt x="3065" y="9144"/>
                </a:moveTo>
                <a:cubicBezTo>
                  <a:pt x="3567" y="10000"/>
                  <a:pt x="3466" y="9781"/>
                  <a:pt x="3567" y="10000"/>
                </a:cubicBezTo>
                <a:cubicBezTo>
                  <a:pt x="3668" y="10219"/>
                  <a:pt x="3768" y="10465"/>
                  <a:pt x="3674" y="10460"/>
                </a:cubicBezTo>
                <a:cubicBezTo>
                  <a:pt x="3598" y="10465"/>
                  <a:pt x="3668" y="10942"/>
                  <a:pt x="3056" y="10000"/>
                </a:cubicBezTo>
                <a:cubicBezTo>
                  <a:pt x="2444" y="9058"/>
                  <a:pt x="0" y="4804"/>
                  <a:pt x="0" y="4804"/>
                </a:cubicBezTo>
                <a:cubicBezTo>
                  <a:pt x="-156" y="4540"/>
                  <a:pt x="-156" y="4109"/>
                  <a:pt x="0" y="3845"/>
                </a:cubicBezTo>
                <a:lnTo>
                  <a:pt x="2006" y="478"/>
                </a:lnTo>
                <a:cubicBezTo>
                  <a:pt x="2163" y="214"/>
                  <a:pt x="2548" y="0"/>
                  <a:pt x="2858" y="0"/>
                </a:cubicBezTo>
                <a:lnTo>
                  <a:pt x="6852" y="9"/>
                </a:lnTo>
                <a:cubicBezTo>
                  <a:pt x="7164" y="9"/>
                  <a:pt x="7546" y="226"/>
                  <a:pt x="7703" y="490"/>
                </a:cubicBezTo>
                <a:lnTo>
                  <a:pt x="9691" y="3865"/>
                </a:lnTo>
                <a:cubicBezTo>
                  <a:pt x="9844" y="4129"/>
                  <a:pt x="9844" y="4560"/>
                  <a:pt x="9688" y="4824"/>
                </a:cubicBezTo>
                <a:lnTo>
                  <a:pt x="7685" y="8191"/>
                </a:lnTo>
                <a:cubicBezTo>
                  <a:pt x="7525" y="8455"/>
                  <a:pt x="7143" y="8669"/>
                  <a:pt x="6830" y="8669"/>
                </a:cubicBezTo>
                <a:lnTo>
                  <a:pt x="3351" y="8666"/>
                </a:lnTo>
                <a:cubicBezTo>
                  <a:pt x="3038" y="8663"/>
                  <a:pt x="2912" y="8880"/>
                  <a:pt x="3065" y="9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159375" y="3645000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60000" y="2781000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0000" y="1628800"/>
            <a:ext cx="6408113" cy="1152887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8665" y="5341463"/>
            <a:ext cx="2520000" cy="125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7420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623888" y="1412775"/>
            <a:ext cx="10944227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="" xmlns:a16="http://schemas.microsoft.com/office/drawing/2014/main" id="{2DD2A986-B447-4183-B5FF-5BEF7476D9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151682" cy="2072559"/>
          </a:xfrm>
          <a:prstGeom prst="rect">
            <a:avLst/>
          </a:prstGeom>
        </p:spPr>
      </p:pic>
      <p:grpSp>
        <p:nvGrpSpPr>
          <p:cNvPr id="14" name="Grupo 5">
            <a:extLst>
              <a:ext uri="{FF2B5EF4-FFF2-40B4-BE49-F238E27FC236}">
                <a16:creationId xmlns="" xmlns:a16="http://schemas.microsoft.com/office/drawing/2014/main" id="{E6AF5419-B350-4834-A71F-C619C9408D47}"/>
              </a:ext>
            </a:extLst>
          </p:cNvPr>
          <p:cNvGrpSpPr/>
          <p:nvPr userDrawn="1"/>
        </p:nvGrpSpPr>
        <p:grpSpPr>
          <a:xfrm>
            <a:off x="1240818" y="6571313"/>
            <a:ext cx="1534596" cy="198953"/>
            <a:chOff x="1494818" y="6562846"/>
            <a:chExt cx="1534596" cy="198953"/>
          </a:xfrm>
        </p:grpSpPr>
        <p:sp>
          <p:nvSpPr>
            <p:cNvPr id="15" name="CaixaDeTexto 14">
              <a:extLst>
                <a:ext uri="{FF2B5EF4-FFF2-40B4-BE49-F238E27FC236}">
                  <a16:creationId xmlns="" xmlns:a16="http://schemas.microsoft.com/office/drawing/2014/main" id="{867ACDEB-45B0-4BB7-8C39-38F3F3B0B899}"/>
                </a:ext>
              </a:extLst>
            </p:cNvPr>
            <p:cNvSpPr txBox="1"/>
            <p:nvPr/>
          </p:nvSpPr>
          <p:spPr bwMode="gray">
            <a:xfrm>
              <a:off x="1494818" y="6562846"/>
              <a:ext cx="1265009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pt-BR" sz="700" b="1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ordenação </a:t>
              </a:r>
              <a:endParaRPr kumimoji="0" lang="pt-BR" sz="7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16" name="Imagem 15">
              <a:extLst>
                <a:ext uri="{FF2B5EF4-FFF2-40B4-BE49-F238E27FC236}">
                  <a16:creationId xmlns="" xmlns:a16="http://schemas.microsoft.com/office/drawing/2014/main" id="{299E0C37-D19B-4A12-9430-2B41B6114A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169" b="38059"/>
            <a:stretch/>
          </p:blipFill>
          <p:spPr>
            <a:xfrm>
              <a:off x="2120315" y="6563815"/>
              <a:ext cx="909099" cy="197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1038821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/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12775"/>
            <a:ext cx="10944227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="" xmlns:a16="http://schemas.microsoft.com/office/drawing/2014/main" id="{181E60B0-7DEF-4B20-99C1-38BD17F01B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151682" cy="2072559"/>
          </a:xfrm>
          <a:prstGeom prst="rect">
            <a:avLst/>
          </a:prstGeom>
        </p:spPr>
      </p:pic>
      <p:grpSp>
        <p:nvGrpSpPr>
          <p:cNvPr id="13" name="Grupo 5">
            <a:extLst>
              <a:ext uri="{FF2B5EF4-FFF2-40B4-BE49-F238E27FC236}">
                <a16:creationId xmlns="" xmlns:a16="http://schemas.microsoft.com/office/drawing/2014/main" id="{51D38183-85D5-4887-BF05-3A8A16CADE6B}"/>
              </a:ext>
            </a:extLst>
          </p:cNvPr>
          <p:cNvGrpSpPr/>
          <p:nvPr userDrawn="1"/>
        </p:nvGrpSpPr>
        <p:grpSpPr>
          <a:xfrm>
            <a:off x="1240818" y="6571313"/>
            <a:ext cx="1534596" cy="198953"/>
            <a:chOff x="1494818" y="6562846"/>
            <a:chExt cx="1534596" cy="198953"/>
          </a:xfrm>
        </p:grpSpPr>
        <p:sp>
          <p:nvSpPr>
            <p:cNvPr id="15" name="CaixaDeTexto 14">
              <a:extLst>
                <a:ext uri="{FF2B5EF4-FFF2-40B4-BE49-F238E27FC236}">
                  <a16:creationId xmlns="" xmlns:a16="http://schemas.microsoft.com/office/drawing/2014/main" id="{5654FD79-E736-4FF7-BC8B-8CB9A69E77B8}"/>
                </a:ext>
              </a:extLst>
            </p:cNvPr>
            <p:cNvSpPr txBox="1"/>
            <p:nvPr/>
          </p:nvSpPr>
          <p:spPr bwMode="gray">
            <a:xfrm>
              <a:off x="1494818" y="6562846"/>
              <a:ext cx="1265009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SzTx/>
                <a:tabLst/>
              </a:pPr>
              <a:r>
                <a:rPr lang="pt-BR" sz="700" b="1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ordenação </a:t>
              </a:r>
              <a:endParaRPr kumimoji="0" lang="pt-BR" sz="7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16" name="Imagem 15">
              <a:extLst>
                <a:ext uri="{FF2B5EF4-FFF2-40B4-BE49-F238E27FC236}">
                  <a16:creationId xmlns="" xmlns:a16="http://schemas.microsoft.com/office/drawing/2014/main" id="{41B6FD53-748B-4DE0-AF43-34908679DD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169" b="38059"/>
            <a:stretch/>
          </p:blipFill>
          <p:spPr>
            <a:xfrm>
              <a:off x="2120315" y="6563815"/>
              <a:ext cx="909099" cy="197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374702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33636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3794B-289A-4A80-97D7-111025398D45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23968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Freeform 9"/>
          <p:cNvSpPr/>
          <p:nvPr/>
        </p:nvSpPr>
        <p:spPr>
          <a:xfrm>
            <a:off x="24" y="8"/>
            <a:ext cx="12191978" cy="4571994"/>
          </a:xfrm>
          <a:custGeom>
            <a:avLst/>
            <a:gdLst/>
            <a:ahLst/>
            <a:cxnLst/>
            <a:rect l="l" t="t" r="r" b="b"/>
            <a:pathLst>
              <a:path w="12191978" h="4571994">
                <a:moveTo>
                  <a:pt x="1" y="4316129"/>
                </a:moveTo>
                <a:lnTo>
                  <a:pt x="255863" y="4571991"/>
                </a:lnTo>
                <a:lnTo>
                  <a:pt x="203619" y="4571991"/>
                </a:lnTo>
                <a:lnTo>
                  <a:pt x="1" y="4368373"/>
                </a:lnTo>
                <a:close/>
                <a:moveTo>
                  <a:pt x="12191973" y="4312831"/>
                </a:moveTo>
                <a:lnTo>
                  <a:pt x="12191972" y="4365076"/>
                </a:lnTo>
                <a:lnTo>
                  <a:pt x="11985055" y="4571992"/>
                </a:lnTo>
                <a:lnTo>
                  <a:pt x="11932811" y="4571993"/>
                </a:lnTo>
                <a:close/>
                <a:moveTo>
                  <a:pt x="11817249" y="4076816"/>
                </a:moveTo>
                <a:lnTo>
                  <a:pt x="11928074" y="4076816"/>
                </a:lnTo>
                <a:lnTo>
                  <a:pt x="11928074" y="4187641"/>
                </a:lnTo>
                <a:lnTo>
                  <a:pt x="11817249" y="4187641"/>
                </a:lnTo>
                <a:close/>
                <a:moveTo>
                  <a:pt x="10766437" y="4076816"/>
                </a:moveTo>
                <a:lnTo>
                  <a:pt x="10877262" y="4076816"/>
                </a:lnTo>
                <a:lnTo>
                  <a:pt x="10877262" y="4187641"/>
                </a:lnTo>
                <a:lnTo>
                  <a:pt x="10766437" y="4187641"/>
                </a:lnTo>
                <a:close/>
                <a:moveTo>
                  <a:pt x="9715629" y="4076816"/>
                </a:moveTo>
                <a:lnTo>
                  <a:pt x="9826454" y="4076816"/>
                </a:lnTo>
                <a:lnTo>
                  <a:pt x="9826454" y="4187641"/>
                </a:lnTo>
                <a:lnTo>
                  <a:pt x="9715629" y="4187641"/>
                </a:lnTo>
                <a:close/>
                <a:moveTo>
                  <a:pt x="8664821" y="4076816"/>
                </a:moveTo>
                <a:lnTo>
                  <a:pt x="8775646" y="4076816"/>
                </a:lnTo>
                <a:lnTo>
                  <a:pt x="8775646" y="4187641"/>
                </a:lnTo>
                <a:lnTo>
                  <a:pt x="8664821" y="4187641"/>
                </a:lnTo>
                <a:close/>
                <a:moveTo>
                  <a:pt x="7614013" y="4076816"/>
                </a:moveTo>
                <a:lnTo>
                  <a:pt x="7724838" y="4076816"/>
                </a:lnTo>
                <a:lnTo>
                  <a:pt x="7724838" y="4187641"/>
                </a:lnTo>
                <a:lnTo>
                  <a:pt x="7614013" y="4187641"/>
                </a:lnTo>
                <a:close/>
                <a:moveTo>
                  <a:pt x="6563205" y="4076816"/>
                </a:moveTo>
                <a:lnTo>
                  <a:pt x="6674030" y="4076816"/>
                </a:lnTo>
                <a:lnTo>
                  <a:pt x="6674030" y="4187641"/>
                </a:lnTo>
                <a:lnTo>
                  <a:pt x="6563205" y="4187641"/>
                </a:lnTo>
                <a:close/>
                <a:moveTo>
                  <a:pt x="5512397" y="4076816"/>
                </a:moveTo>
                <a:lnTo>
                  <a:pt x="5623222" y="4076816"/>
                </a:lnTo>
                <a:lnTo>
                  <a:pt x="5623222" y="4187641"/>
                </a:lnTo>
                <a:lnTo>
                  <a:pt x="5512397" y="4187641"/>
                </a:lnTo>
                <a:close/>
                <a:moveTo>
                  <a:pt x="4461589" y="4076816"/>
                </a:moveTo>
                <a:lnTo>
                  <a:pt x="4572414" y="4076816"/>
                </a:lnTo>
                <a:lnTo>
                  <a:pt x="4572414" y="4187641"/>
                </a:lnTo>
                <a:lnTo>
                  <a:pt x="4461589" y="4187641"/>
                </a:lnTo>
                <a:close/>
                <a:moveTo>
                  <a:pt x="3410782" y="4076816"/>
                </a:moveTo>
                <a:lnTo>
                  <a:pt x="3521608" y="4076816"/>
                </a:lnTo>
                <a:lnTo>
                  <a:pt x="3521608" y="4187641"/>
                </a:lnTo>
                <a:lnTo>
                  <a:pt x="3410782" y="4187641"/>
                </a:lnTo>
                <a:close/>
                <a:moveTo>
                  <a:pt x="2359975" y="4076816"/>
                </a:moveTo>
                <a:lnTo>
                  <a:pt x="2470800" y="4076816"/>
                </a:lnTo>
                <a:lnTo>
                  <a:pt x="2470800" y="4187641"/>
                </a:lnTo>
                <a:lnTo>
                  <a:pt x="2359975" y="4187641"/>
                </a:lnTo>
                <a:close/>
                <a:moveTo>
                  <a:pt x="1309167" y="4076816"/>
                </a:moveTo>
                <a:lnTo>
                  <a:pt x="1419992" y="4076816"/>
                </a:lnTo>
                <a:lnTo>
                  <a:pt x="1419992" y="4187641"/>
                </a:lnTo>
                <a:lnTo>
                  <a:pt x="1309167" y="4187641"/>
                </a:lnTo>
                <a:close/>
                <a:moveTo>
                  <a:pt x="258359" y="4076816"/>
                </a:moveTo>
                <a:lnTo>
                  <a:pt x="369184" y="4076816"/>
                </a:lnTo>
                <a:lnTo>
                  <a:pt x="369184" y="4187641"/>
                </a:lnTo>
                <a:lnTo>
                  <a:pt x="258359" y="4187641"/>
                </a:lnTo>
                <a:close/>
                <a:moveTo>
                  <a:pt x="11291841" y="3551209"/>
                </a:moveTo>
                <a:lnTo>
                  <a:pt x="11402666" y="3551209"/>
                </a:lnTo>
                <a:lnTo>
                  <a:pt x="11402666" y="3662034"/>
                </a:lnTo>
                <a:lnTo>
                  <a:pt x="11291841" y="3662034"/>
                </a:lnTo>
                <a:close/>
                <a:moveTo>
                  <a:pt x="10241033" y="3551209"/>
                </a:moveTo>
                <a:lnTo>
                  <a:pt x="10351858" y="3551209"/>
                </a:lnTo>
                <a:lnTo>
                  <a:pt x="10351858" y="3662034"/>
                </a:lnTo>
                <a:lnTo>
                  <a:pt x="10241033" y="3662034"/>
                </a:lnTo>
                <a:close/>
                <a:moveTo>
                  <a:pt x="9190225" y="3551209"/>
                </a:moveTo>
                <a:lnTo>
                  <a:pt x="9301050" y="3551209"/>
                </a:lnTo>
                <a:lnTo>
                  <a:pt x="9301050" y="3662034"/>
                </a:lnTo>
                <a:lnTo>
                  <a:pt x="9190225" y="3662034"/>
                </a:lnTo>
                <a:close/>
                <a:moveTo>
                  <a:pt x="8139417" y="3551209"/>
                </a:moveTo>
                <a:lnTo>
                  <a:pt x="8250242" y="3551209"/>
                </a:lnTo>
                <a:lnTo>
                  <a:pt x="8250242" y="3662034"/>
                </a:lnTo>
                <a:lnTo>
                  <a:pt x="8139417" y="3662034"/>
                </a:lnTo>
                <a:close/>
                <a:moveTo>
                  <a:pt x="7088609" y="3551209"/>
                </a:moveTo>
                <a:lnTo>
                  <a:pt x="7199434" y="3551209"/>
                </a:lnTo>
                <a:lnTo>
                  <a:pt x="7199434" y="3662034"/>
                </a:lnTo>
                <a:lnTo>
                  <a:pt x="7088609" y="3662034"/>
                </a:lnTo>
                <a:close/>
                <a:moveTo>
                  <a:pt x="6037801" y="3551209"/>
                </a:moveTo>
                <a:lnTo>
                  <a:pt x="6148626" y="3551209"/>
                </a:lnTo>
                <a:lnTo>
                  <a:pt x="6148626" y="3662034"/>
                </a:lnTo>
                <a:lnTo>
                  <a:pt x="6037801" y="3662034"/>
                </a:lnTo>
                <a:close/>
                <a:moveTo>
                  <a:pt x="4986998" y="3551209"/>
                </a:moveTo>
                <a:lnTo>
                  <a:pt x="5097826" y="3551209"/>
                </a:lnTo>
                <a:lnTo>
                  <a:pt x="5097826" y="3662034"/>
                </a:lnTo>
                <a:lnTo>
                  <a:pt x="4986998" y="3662034"/>
                </a:lnTo>
                <a:close/>
                <a:moveTo>
                  <a:pt x="3936196" y="3551209"/>
                </a:moveTo>
                <a:lnTo>
                  <a:pt x="4047020" y="3551209"/>
                </a:lnTo>
                <a:lnTo>
                  <a:pt x="4047020" y="3662034"/>
                </a:lnTo>
                <a:lnTo>
                  <a:pt x="3936196" y="3662034"/>
                </a:lnTo>
                <a:close/>
                <a:moveTo>
                  <a:pt x="2885389" y="3551209"/>
                </a:moveTo>
                <a:lnTo>
                  <a:pt x="2996214" y="3551209"/>
                </a:lnTo>
                <a:lnTo>
                  <a:pt x="2996214" y="3662034"/>
                </a:lnTo>
                <a:lnTo>
                  <a:pt x="2885389" y="3662034"/>
                </a:lnTo>
                <a:close/>
                <a:moveTo>
                  <a:pt x="1834579" y="3551209"/>
                </a:moveTo>
                <a:lnTo>
                  <a:pt x="1945404" y="3551209"/>
                </a:lnTo>
                <a:lnTo>
                  <a:pt x="1945404" y="3662034"/>
                </a:lnTo>
                <a:lnTo>
                  <a:pt x="1834579" y="3662034"/>
                </a:lnTo>
                <a:close/>
                <a:moveTo>
                  <a:pt x="783773" y="3551209"/>
                </a:moveTo>
                <a:lnTo>
                  <a:pt x="894598" y="3551209"/>
                </a:lnTo>
                <a:lnTo>
                  <a:pt x="894598" y="3662034"/>
                </a:lnTo>
                <a:lnTo>
                  <a:pt x="783773" y="3662034"/>
                </a:lnTo>
                <a:close/>
                <a:moveTo>
                  <a:pt x="2942310" y="3107960"/>
                </a:moveTo>
                <a:lnTo>
                  <a:pt x="2470811" y="3579460"/>
                </a:lnTo>
                <a:lnTo>
                  <a:pt x="2470811" y="3634896"/>
                </a:lnTo>
                <a:lnTo>
                  <a:pt x="2942311" y="4106397"/>
                </a:lnTo>
                <a:lnTo>
                  <a:pt x="3410794" y="3637915"/>
                </a:lnTo>
                <a:lnTo>
                  <a:pt x="3410794" y="3576442"/>
                </a:lnTo>
                <a:close/>
                <a:moveTo>
                  <a:pt x="840944" y="3107960"/>
                </a:moveTo>
                <a:lnTo>
                  <a:pt x="369194" y="3579710"/>
                </a:lnTo>
                <a:lnTo>
                  <a:pt x="369194" y="3634648"/>
                </a:lnTo>
                <a:lnTo>
                  <a:pt x="840944" y="4106399"/>
                </a:lnTo>
                <a:lnTo>
                  <a:pt x="1309176" y="3638165"/>
                </a:lnTo>
                <a:lnTo>
                  <a:pt x="1309176" y="3576193"/>
                </a:lnTo>
                <a:close/>
                <a:moveTo>
                  <a:pt x="3992986" y="3107959"/>
                </a:moveTo>
                <a:lnTo>
                  <a:pt x="3521621" y="3579335"/>
                </a:lnTo>
                <a:lnTo>
                  <a:pt x="3521621" y="3635021"/>
                </a:lnTo>
                <a:lnTo>
                  <a:pt x="3992986" y="4106398"/>
                </a:lnTo>
                <a:lnTo>
                  <a:pt x="4461593" y="3637778"/>
                </a:lnTo>
                <a:lnTo>
                  <a:pt x="4461593" y="3576578"/>
                </a:lnTo>
                <a:close/>
                <a:moveTo>
                  <a:pt x="1891624" y="3107959"/>
                </a:moveTo>
                <a:lnTo>
                  <a:pt x="1420001" y="3579584"/>
                </a:lnTo>
                <a:lnTo>
                  <a:pt x="1420001" y="3634774"/>
                </a:lnTo>
                <a:lnTo>
                  <a:pt x="1891623" y="4106397"/>
                </a:lnTo>
                <a:lnTo>
                  <a:pt x="2359987" y="3638040"/>
                </a:lnTo>
                <a:lnTo>
                  <a:pt x="2359987" y="3576315"/>
                </a:lnTo>
                <a:close/>
                <a:moveTo>
                  <a:pt x="8195689" y="3107959"/>
                </a:moveTo>
                <a:lnTo>
                  <a:pt x="7724838" y="3578810"/>
                </a:lnTo>
                <a:lnTo>
                  <a:pt x="7724838" y="3635541"/>
                </a:lnTo>
                <a:lnTo>
                  <a:pt x="8195691" y="4106395"/>
                </a:lnTo>
                <a:lnTo>
                  <a:pt x="8664821" y="3637265"/>
                </a:lnTo>
                <a:lnTo>
                  <a:pt x="8664821" y="3577091"/>
                </a:lnTo>
                <a:close/>
                <a:moveTo>
                  <a:pt x="5043664" y="3107959"/>
                </a:moveTo>
                <a:lnTo>
                  <a:pt x="4572419" y="3579197"/>
                </a:lnTo>
                <a:lnTo>
                  <a:pt x="4572419" y="3635159"/>
                </a:lnTo>
                <a:lnTo>
                  <a:pt x="5043662" y="4106396"/>
                </a:lnTo>
                <a:lnTo>
                  <a:pt x="5512402" y="3637650"/>
                </a:lnTo>
                <a:lnTo>
                  <a:pt x="5512402" y="3576704"/>
                </a:lnTo>
                <a:close/>
                <a:moveTo>
                  <a:pt x="6094326" y="3107958"/>
                </a:moveTo>
                <a:lnTo>
                  <a:pt x="5623226" y="3579070"/>
                </a:lnTo>
                <a:lnTo>
                  <a:pt x="5623226" y="3635285"/>
                </a:lnTo>
                <a:lnTo>
                  <a:pt x="6094326" y="4106397"/>
                </a:lnTo>
                <a:lnTo>
                  <a:pt x="6563205" y="3637518"/>
                </a:lnTo>
                <a:lnTo>
                  <a:pt x="6563205" y="3576837"/>
                </a:lnTo>
                <a:close/>
                <a:moveTo>
                  <a:pt x="9246372" y="3107957"/>
                </a:moveTo>
                <a:lnTo>
                  <a:pt x="8775646" y="3578683"/>
                </a:lnTo>
                <a:lnTo>
                  <a:pt x="8775646" y="3635671"/>
                </a:lnTo>
                <a:lnTo>
                  <a:pt x="9246369" y="4106395"/>
                </a:lnTo>
                <a:lnTo>
                  <a:pt x="9715629" y="3637135"/>
                </a:lnTo>
                <a:lnTo>
                  <a:pt x="9715629" y="3577215"/>
                </a:lnTo>
                <a:close/>
                <a:moveTo>
                  <a:pt x="7145009" y="3107957"/>
                </a:moveTo>
                <a:lnTo>
                  <a:pt x="6674030" y="3578936"/>
                </a:lnTo>
                <a:lnTo>
                  <a:pt x="6674030" y="3635418"/>
                </a:lnTo>
                <a:lnTo>
                  <a:pt x="7145007" y="4106396"/>
                </a:lnTo>
                <a:lnTo>
                  <a:pt x="7614013" y="3637390"/>
                </a:lnTo>
                <a:lnTo>
                  <a:pt x="7614013" y="3576961"/>
                </a:lnTo>
                <a:close/>
                <a:moveTo>
                  <a:pt x="11347734" y="3107957"/>
                </a:moveTo>
                <a:lnTo>
                  <a:pt x="10877262" y="3578428"/>
                </a:lnTo>
                <a:lnTo>
                  <a:pt x="10877262" y="3635922"/>
                </a:lnTo>
                <a:lnTo>
                  <a:pt x="11347735" y="4106396"/>
                </a:lnTo>
                <a:lnTo>
                  <a:pt x="11817249" y="3636882"/>
                </a:lnTo>
                <a:lnTo>
                  <a:pt x="11817249" y="3577472"/>
                </a:lnTo>
                <a:close/>
                <a:moveTo>
                  <a:pt x="10297053" y="3107955"/>
                </a:moveTo>
                <a:lnTo>
                  <a:pt x="9826454" y="3578554"/>
                </a:lnTo>
                <a:lnTo>
                  <a:pt x="9826454" y="3635794"/>
                </a:lnTo>
                <a:lnTo>
                  <a:pt x="10297054" y="4106394"/>
                </a:lnTo>
                <a:lnTo>
                  <a:pt x="10766437" y="3637011"/>
                </a:lnTo>
                <a:lnTo>
                  <a:pt x="10766437" y="3577339"/>
                </a:lnTo>
                <a:close/>
                <a:moveTo>
                  <a:pt x="11817249" y="3027334"/>
                </a:moveTo>
                <a:lnTo>
                  <a:pt x="11928074" y="3027334"/>
                </a:lnTo>
                <a:lnTo>
                  <a:pt x="11928074" y="3138159"/>
                </a:lnTo>
                <a:lnTo>
                  <a:pt x="11817249" y="3138159"/>
                </a:lnTo>
                <a:close/>
                <a:moveTo>
                  <a:pt x="10766437" y="3027334"/>
                </a:moveTo>
                <a:lnTo>
                  <a:pt x="10877262" y="3027334"/>
                </a:lnTo>
                <a:lnTo>
                  <a:pt x="10877262" y="3138159"/>
                </a:lnTo>
                <a:lnTo>
                  <a:pt x="10766437" y="3138159"/>
                </a:lnTo>
                <a:close/>
                <a:moveTo>
                  <a:pt x="9715629" y="3027334"/>
                </a:moveTo>
                <a:lnTo>
                  <a:pt x="9826454" y="3027334"/>
                </a:lnTo>
                <a:lnTo>
                  <a:pt x="9826454" y="3138159"/>
                </a:lnTo>
                <a:lnTo>
                  <a:pt x="9715629" y="3138159"/>
                </a:lnTo>
                <a:close/>
                <a:moveTo>
                  <a:pt x="8664821" y="3027334"/>
                </a:moveTo>
                <a:lnTo>
                  <a:pt x="8775646" y="3027334"/>
                </a:lnTo>
                <a:lnTo>
                  <a:pt x="8775646" y="3138159"/>
                </a:lnTo>
                <a:lnTo>
                  <a:pt x="8664821" y="3138159"/>
                </a:lnTo>
                <a:close/>
                <a:moveTo>
                  <a:pt x="7614013" y="3027334"/>
                </a:moveTo>
                <a:lnTo>
                  <a:pt x="7724838" y="3027334"/>
                </a:lnTo>
                <a:lnTo>
                  <a:pt x="7724838" y="3138159"/>
                </a:lnTo>
                <a:lnTo>
                  <a:pt x="7614013" y="3138159"/>
                </a:lnTo>
                <a:close/>
                <a:moveTo>
                  <a:pt x="6563205" y="3027334"/>
                </a:moveTo>
                <a:lnTo>
                  <a:pt x="6674030" y="3027334"/>
                </a:lnTo>
                <a:lnTo>
                  <a:pt x="6674030" y="3138159"/>
                </a:lnTo>
                <a:lnTo>
                  <a:pt x="6563205" y="3138159"/>
                </a:lnTo>
                <a:close/>
                <a:moveTo>
                  <a:pt x="5512400" y="3027334"/>
                </a:moveTo>
                <a:lnTo>
                  <a:pt x="5623225" y="3027334"/>
                </a:lnTo>
                <a:lnTo>
                  <a:pt x="5623225" y="3138159"/>
                </a:lnTo>
                <a:lnTo>
                  <a:pt x="5512400" y="3138159"/>
                </a:lnTo>
                <a:close/>
                <a:moveTo>
                  <a:pt x="4461592" y="3027334"/>
                </a:moveTo>
                <a:lnTo>
                  <a:pt x="4572417" y="3027334"/>
                </a:lnTo>
                <a:lnTo>
                  <a:pt x="4572417" y="3138159"/>
                </a:lnTo>
                <a:lnTo>
                  <a:pt x="4461592" y="3138159"/>
                </a:lnTo>
                <a:close/>
                <a:moveTo>
                  <a:pt x="3410790" y="3027334"/>
                </a:moveTo>
                <a:lnTo>
                  <a:pt x="3521616" y="3027334"/>
                </a:lnTo>
                <a:lnTo>
                  <a:pt x="3521616" y="3138159"/>
                </a:lnTo>
                <a:lnTo>
                  <a:pt x="3410790" y="3138159"/>
                </a:lnTo>
                <a:close/>
                <a:moveTo>
                  <a:pt x="2359982" y="3027334"/>
                </a:moveTo>
                <a:lnTo>
                  <a:pt x="2470807" y="3027334"/>
                </a:lnTo>
                <a:lnTo>
                  <a:pt x="2470807" y="3138159"/>
                </a:lnTo>
                <a:lnTo>
                  <a:pt x="2359982" y="3138159"/>
                </a:lnTo>
                <a:close/>
                <a:moveTo>
                  <a:pt x="1309173" y="3027334"/>
                </a:moveTo>
                <a:lnTo>
                  <a:pt x="1419997" y="3027334"/>
                </a:lnTo>
                <a:lnTo>
                  <a:pt x="1419997" y="3138159"/>
                </a:lnTo>
                <a:lnTo>
                  <a:pt x="1309173" y="3138159"/>
                </a:lnTo>
                <a:close/>
                <a:moveTo>
                  <a:pt x="258365" y="3027334"/>
                </a:moveTo>
                <a:lnTo>
                  <a:pt x="369190" y="3027334"/>
                </a:lnTo>
                <a:lnTo>
                  <a:pt x="369190" y="3138159"/>
                </a:lnTo>
                <a:lnTo>
                  <a:pt x="258365" y="3138159"/>
                </a:lnTo>
                <a:close/>
                <a:moveTo>
                  <a:pt x="10794114" y="2610895"/>
                </a:moveTo>
                <a:lnTo>
                  <a:pt x="10323174" y="3081834"/>
                </a:lnTo>
                <a:lnTo>
                  <a:pt x="10792548" y="3551209"/>
                </a:lnTo>
                <a:lnTo>
                  <a:pt x="10852239" y="3551209"/>
                </a:lnTo>
                <a:lnTo>
                  <a:pt x="11321612" y="3081835"/>
                </a:lnTo>
                <a:lnTo>
                  <a:pt x="10850672" y="2610895"/>
                </a:lnTo>
                <a:close/>
                <a:moveTo>
                  <a:pt x="9743434" y="2610895"/>
                </a:moveTo>
                <a:lnTo>
                  <a:pt x="9272494" y="3081834"/>
                </a:lnTo>
                <a:lnTo>
                  <a:pt x="9741869" y="3551209"/>
                </a:lnTo>
                <a:lnTo>
                  <a:pt x="9801555" y="3551209"/>
                </a:lnTo>
                <a:lnTo>
                  <a:pt x="10270931" y="3081833"/>
                </a:lnTo>
                <a:lnTo>
                  <a:pt x="9799992" y="2610895"/>
                </a:lnTo>
                <a:close/>
                <a:moveTo>
                  <a:pt x="8692754" y="2610895"/>
                </a:moveTo>
                <a:lnTo>
                  <a:pt x="8221811" y="3081837"/>
                </a:lnTo>
                <a:lnTo>
                  <a:pt x="8691183" y="3551209"/>
                </a:lnTo>
                <a:lnTo>
                  <a:pt x="8750876" y="3551209"/>
                </a:lnTo>
                <a:lnTo>
                  <a:pt x="9220250" y="3081835"/>
                </a:lnTo>
                <a:lnTo>
                  <a:pt x="8749310" y="2610895"/>
                </a:lnTo>
                <a:close/>
                <a:moveTo>
                  <a:pt x="7642070" y="2610895"/>
                </a:moveTo>
                <a:lnTo>
                  <a:pt x="7171131" y="3081835"/>
                </a:lnTo>
                <a:lnTo>
                  <a:pt x="7640505" y="3551209"/>
                </a:lnTo>
                <a:lnTo>
                  <a:pt x="7700194" y="3551209"/>
                </a:lnTo>
                <a:lnTo>
                  <a:pt x="8169567" y="3081836"/>
                </a:lnTo>
                <a:lnTo>
                  <a:pt x="7698625" y="2610895"/>
                </a:lnTo>
                <a:close/>
                <a:moveTo>
                  <a:pt x="6591389" y="2610895"/>
                </a:moveTo>
                <a:lnTo>
                  <a:pt x="6120448" y="3081836"/>
                </a:lnTo>
                <a:lnTo>
                  <a:pt x="6589820" y="3551209"/>
                </a:lnTo>
                <a:lnTo>
                  <a:pt x="6649514" y="3551209"/>
                </a:lnTo>
                <a:lnTo>
                  <a:pt x="7118887" y="3081836"/>
                </a:lnTo>
                <a:lnTo>
                  <a:pt x="6647947" y="2610895"/>
                </a:lnTo>
                <a:close/>
                <a:moveTo>
                  <a:pt x="5540722" y="2610895"/>
                </a:moveTo>
                <a:lnTo>
                  <a:pt x="5069790" y="3081837"/>
                </a:lnTo>
                <a:lnTo>
                  <a:pt x="5539152" y="3551209"/>
                </a:lnTo>
                <a:lnTo>
                  <a:pt x="5598843" y="3551209"/>
                </a:lnTo>
                <a:lnTo>
                  <a:pt x="6068204" y="3081836"/>
                </a:lnTo>
                <a:lnTo>
                  <a:pt x="5597274" y="2610895"/>
                </a:lnTo>
                <a:close/>
                <a:moveTo>
                  <a:pt x="4490039" y="2610895"/>
                </a:moveTo>
                <a:lnTo>
                  <a:pt x="4019108" y="3081837"/>
                </a:lnTo>
                <a:lnTo>
                  <a:pt x="4488467" y="3551209"/>
                </a:lnTo>
                <a:lnTo>
                  <a:pt x="4548162" y="3551209"/>
                </a:lnTo>
                <a:lnTo>
                  <a:pt x="5017539" y="3081837"/>
                </a:lnTo>
                <a:lnTo>
                  <a:pt x="4546591" y="2610895"/>
                </a:lnTo>
                <a:close/>
                <a:moveTo>
                  <a:pt x="3439377" y="2610895"/>
                </a:moveTo>
                <a:lnTo>
                  <a:pt x="2968431" y="3081838"/>
                </a:lnTo>
                <a:lnTo>
                  <a:pt x="3437805" y="3551209"/>
                </a:lnTo>
                <a:lnTo>
                  <a:pt x="3497502" y="3551209"/>
                </a:lnTo>
                <a:lnTo>
                  <a:pt x="3966864" y="3081837"/>
                </a:lnTo>
                <a:lnTo>
                  <a:pt x="3495931" y="2610895"/>
                </a:lnTo>
                <a:close/>
                <a:moveTo>
                  <a:pt x="2388695" y="2610895"/>
                </a:moveTo>
                <a:lnTo>
                  <a:pt x="1917746" y="3081837"/>
                </a:lnTo>
                <a:lnTo>
                  <a:pt x="2387125" y="3551209"/>
                </a:lnTo>
                <a:lnTo>
                  <a:pt x="2446819" y="3551209"/>
                </a:lnTo>
                <a:lnTo>
                  <a:pt x="2916188" y="3081838"/>
                </a:lnTo>
                <a:lnTo>
                  <a:pt x="2445246" y="2610895"/>
                </a:lnTo>
                <a:close/>
                <a:moveTo>
                  <a:pt x="1338007" y="2610895"/>
                </a:moveTo>
                <a:lnTo>
                  <a:pt x="867066" y="3081838"/>
                </a:lnTo>
                <a:lnTo>
                  <a:pt x="1336436" y="3551209"/>
                </a:lnTo>
                <a:lnTo>
                  <a:pt x="1396132" y="3551209"/>
                </a:lnTo>
                <a:lnTo>
                  <a:pt x="1865502" y="3081837"/>
                </a:lnTo>
                <a:lnTo>
                  <a:pt x="1394561" y="2610895"/>
                </a:lnTo>
                <a:close/>
                <a:moveTo>
                  <a:pt x="11291841" y="2500070"/>
                </a:moveTo>
                <a:lnTo>
                  <a:pt x="11402666" y="2500070"/>
                </a:lnTo>
                <a:lnTo>
                  <a:pt x="11402666" y="2610895"/>
                </a:lnTo>
                <a:lnTo>
                  <a:pt x="11291841" y="2610895"/>
                </a:lnTo>
                <a:close/>
                <a:moveTo>
                  <a:pt x="10241033" y="2500070"/>
                </a:moveTo>
                <a:lnTo>
                  <a:pt x="10351858" y="2500070"/>
                </a:lnTo>
                <a:lnTo>
                  <a:pt x="10351858" y="2610895"/>
                </a:lnTo>
                <a:lnTo>
                  <a:pt x="10241033" y="2610895"/>
                </a:lnTo>
                <a:close/>
                <a:moveTo>
                  <a:pt x="9190225" y="2500070"/>
                </a:moveTo>
                <a:lnTo>
                  <a:pt x="9301050" y="2500070"/>
                </a:lnTo>
                <a:lnTo>
                  <a:pt x="9301050" y="2610895"/>
                </a:lnTo>
                <a:lnTo>
                  <a:pt x="9190225" y="2610895"/>
                </a:lnTo>
                <a:close/>
                <a:moveTo>
                  <a:pt x="8139417" y="2500070"/>
                </a:moveTo>
                <a:lnTo>
                  <a:pt x="8250242" y="2500070"/>
                </a:lnTo>
                <a:lnTo>
                  <a:pt x="8250242" y="2610895"/>
                </a:lnTo>
                <a:lnTo>
                  <a:pt x="8139417" y="2610895"/>
                </a:lnTo>
                <a:close/>
                <a:moveTo>
                  <a:pt x="7088609" y="2500070"/>
                </a:moveTo>
                <a:lnTo>
                  <a:pt x="7199434" y="2500070"/>
                </a:lnTo>
                <a:lnTo>
                  <a:pt x="7199434" y="2610895"/>
                </a:lnTo>
                <a:lnTo>
                  <a:pt x="7088609" y="2610895"/>
                </a:lnTo>
                <a:close/>
                <a:moveTo>
                  <a:pt x="6037801" y="2500070"/>
                </a:moveTo>
                <a:lnTo>
                  <a:pt x="6148626" y="2500070"/>
                </a:lnTo>
                <a:lnTo>
                  <a:pt x="6148626" y="2610895"/>
                </a:lnTo>
                <a:lnTo>
                  <a:pt x="6037801" y="2610895"/>
                </a:lnTo>
                <a:close/>
                <a:moveTo>
                  <a:pt x="4987000" y="2500070"/>
                </a:moveTo>
                <a:lnTo>
                  <a:pt x="5097829" y="2500070"/>
                </a:lnTo>
                <a:lnTo>
                  <a:pt x="5097829" y="2610895"/>
                </a:lnTo>
                <a:lnTo>
                  <a:pt x="4987000" y="2610895"/>
                </a:lnTo>
                <a:close/>
                <a:moveTo>
                  <a:pt x="3936200" y="2500070"/>
                </a:moveTo>
                <a:lnTo>
                  <a:pt x="4047024" y="2500070"/>
                </a:lnTo>
                <a:lnTo>
                  <a:pt x="4047024" y="2610895"/>
                </a:lnTo>
                <a:lnTo>
                  <a:pt x="3936200" y="2610895"/>
                </a:lnTo>
                <a:close/>
                <a:moveTo>
                  <a:pt x="2885393" y="2500070"/>
                </a:moveTo>
                <a:lnTo>
                  <a:pt x="2996218" y="2500070"/>
                </a:lnTo>
                <a:lnTo>
                  <a:pt x="2996218" y="2610895"/>
                </a:lnTo>
                <a:lnTo>
                  <a:pt x="2885393" y="2610895"/>
                </a:lnTo>
                <a:close/>
                <a:moveTo>
                  <a:pt x="1834583" y="2500070"/>
                </a:moveTo>
                <a:lnTo>
                  <a:pt x="1945408" y="2500070"/>
                </a:lnTo>
                <a:lnTo>
                  <a:pt x="1945408" y="2610895"/>
                </a:lnTo>
                <a:lnTo>
                  <a:pt x="1834583" y="2610895"/>
                </a:lnTo>
                <a:close/>
                <a:moveTo>
                  <a:pt x="783777" y="2500070"/>
                </a:moveTo>
                <a:lnTo>
                  <a:pt x="894602" y="2500070"/>
                </a:lnTo>
                <a:lnTo>
                  <a:pt x="894602" y="2610895"/>
                </a:lnTo>
                <a:lnTo>
                  <a:pt x="783777" y="2610895"/>
                </a:lnTo>
                <a:close/>
                <a:moveTo>
                  <a:pt x="1891623" y="2057291"/>
                </a:moveTo>
                <a:lnTo>
                  <a:pt x="1420005" y="2528898"/>
                </a:lnTo>
                <a:lnTo>
                  <a:pt x="1420005" y="2584095"/>
                </a:lnTo>
                <a:lnTo>
                  <a:pt x="1891624" y="3055715"/>
                </a:lnTo>
                <a:lnTo>
                  <a:pt x="2359991" y="2587356"/>
                </a:lnTo>
                <a:lnTo>
                  <a:pt x="2359991" y="2525640"/>
                </a:lnTo>
                <a:close/>
                <a:moveTo>
                  <a:pt x="2942310" y="2057291"/>
                </a:moveTo>
                <a:lnTo>
                  <a:pt x="2470816" y="2528774"/>
                </a:lnTo>
                <a:lnTo>
                  <a:pt x="2470816" y="2584221"/>
                </a:lnTo>
                <a:lnTo>
                  <a:pt x="2942310" y="3055716"/>
                </a:lnTo>
                <a:lnTo>
                  <a:pt x="3410799" y="2587229"/>
                </a:lnTo>
                <a:lnTo>
                  <a:pt x="3410799" y="2525765"/>
                </a:lnTo>
                <a:close/>
                <a:moveTo>
                  <a:pt x="3992986" y="2057290"/>
                </a:moveTo>
                <a:lnTo>
                  <a:pt x="3521627" y="2528649"/>
                </a:lnTo>
                <a:lnTo>
                  <a:pt x="3521627" y="2584345"/>
                </a:lnTo>
                <a:lnTo>
                  <a:pt x="3992986" y="3055715"/>
                </a:lnTo>
                <a:lnTo>
                  <a:pt x="4461596" y="2587094"/>
                </a:lnTo>
                <a:lnTo>
                  <a:pt x="4461596" y="2525899"/>
                </a:lnTo>
                <a:close/>
                <a:moveTo>
                  <a:pt x="840944" y="2057289"/>
                </a:moveTo>
                <a:lnTo>
                  <a:pt x="369198" y="2529024"/>
                </a:lnTo>
                <a:lnTo>
                  <a:pt x="369198" y="2583969"/>
                </a:lnTo>
                <a:lnTo>
                  <a:pt x="840944" y="3055716"/>
                </a:lnTo>
                <a:lnTo>
                  <a:pt x="1309180" y="2587479"/>
                </a:lnTo>
                <a:lnTo>
                  <a:pt x="1309180" y="2525514"/>
                </a:lnTo>
                <a:close/>
                <a:moveTo>
                  <a:pt x="7145007" y="2057289"/>
                </a:moveTo>
                <a:lnTo>
                  <a:pt x="6674030" y="2528255"/>
                </a:lnTo>
                <a:lnTo>
                  <a:pt x="6674030" y="2584733"/>
                </a:lnTo>
                <a:lnTo>
                  <a:pt x="7145010" y="3055713"/>
                </a:lnTo>
                <a:lnTo>
                  <a:pt x="7614013" y="2586710"/>
                </a:lnTo>
                <a:lnTo>
                  <a:pt x="7614013" y="2526283"/>
                </a:lnTo>
                <a:close/>
                <a:moveTo>
                  <a:pt x="5043664" y="2057289"/>
                </a:moveTo>
                <a:lnTo>
                  <a:pt x="4572421" y="2528513"/>
                </a:lnTo>
                <a:lnTo>
                  <a:pt x="4572421" y="2584480"/>
                </a:lnTo>
                <a:lnTo>
                  <a:pt x="5043664" y="3055715"/>
                </a:lnTo>
                <a:lnTo>
                  <a:pt x="5512404" y="2586968"/>
                </a:lnTo>
                <a:lnTo>
                  <a:pt x="5512404" y="2526024"/>
                </a:lnTo>
                <a:close/>
                <a:moveTo>
                  <a:pt x="10297053" y="2057288"/>
                </a:moveTo>
                <a:lnTo>
                  <a:pt x="9826454" y="2527875"/>
                </a:lnTo>
                <a:lnTo>
                  <a:pt x="9826454" y="2585115"/>
                </a:lnTo>
                <a:lnTo>
                  <a:pt x="10297052" y="3055713"/>
                </a:lnTo>
                <a:lnTo>
                  <a:pt x="10766437" y="2586328"/>
                </a:lnTo>
                <a:lnTo>
                  <a:pt x="10766437" y="2526660"/>
                </a:lnTo>
                <a:close/>
                <a:moveTo>
                  <a:pt x="9246373" y="2057288"/>
                </a:moveTo>
                <a:lnTo>
                  <a:pt x="8775646" y="2528002"/>
                </a:lnTo>
                <a:lnTo>
                  <a:pt x="8775646" y="2584986"/>
                </a:lnTo>
                <a:lnTo>
                  <a:pt x="9246373" y="3055713"/>
                </a:lnTo>
                <a:lnTo>
                  <a:pt x="9715629" y="2586457"/>
                </a:lnTo>
                <a:lnTo>
                  <a:pt x="9715629" y="2526532"/>
                </a:lnTo>
                <a:close/>
                <a:moveTo>
                  <a:pt x="8195690" y="2057288"/>
                </a:moveTo>
                <a:lnTo>
                  <a:pt x="7724838" y="2528128"/>
                </a:lnTo>
                <a:lnTo>
                  <a:pt x="7724838" y="2584864"/>
                </a:lnTo>
                <a:lnTo>
                  <a:pt x="8195689" y="3055714"/>
                </a:lnTo>
                <a:lnTo>
                  <a:pt x="8664821" y="2586582"/>
                </a:lnTo>
                <a:lnTo>
                  <a:pt x="8664821" y="2526406"/>
                </a:lnTo>
                <a:close/>
                <a:moveTo>
                  <a:pt x="6094328" y="2057287"/>
                </a:moveTo>
                <a:lnTo>
                  <a:pt x="5623228" y="2528386"/>
                </a:lnTo>
                <a:lnTo>
                  <a:pt x="5623228" y="2584606"/>
                </a:lnTo>
                <a:lnTo>
                  <a:pt x="6094325" y="3055714"/>
                </a:lnTo>
                <a:lnTo>
                  <a:pt x="6563205" y="2586835"/>
                </a:lnTo>
                <a:lnTo>
                  <a:pt x="6563205" y="2526153"/>
                </a:lnTo>
                <a:close/>
                <a:moveTo>
                  <a:pt x="11347736" y="2057286"/>
                </a:moveTo>
                <a:lnTo>
                  <a:pt x="10877262" y="2527747"/>
                </a:lnTo>
                <a:lnTo>
                  <a:pt x="10877262" y="2585241"/>
                </a:lnTo>
                <a:lnTo>
                  <a:pt x="11347734" y="3055713"/>
                </a:lnTo>
                <a:lnTo>
                  <a:pt x="11817249" y="2586199"/>
                </a:lnTo>
                <a:lnTo>
                  <a:pt x="11817249" y="2526787"/>
                </a:lnTo>
                <a:close/>
                <a:moveTo>
                  <a:pt x="258363" y="1973449"/>
                </a:moveTo>
                <a:lnTo>
                  <a:pt x="369188" y="1973449"/>
                </a:lnTo>
                <a:lnTo>
                  <a:pt x="369188" y="2084274"/>
                </a:lnTo>
                <a:lnTo>
                  <a:pt x="258363" y="2084274"/>
                </a:lnTo>
                <a:close/>
                <a:moveTo>
                  <a:pt x="2359980" y="1973449"/>
                </a:moveTo>
                <a:lnTo>
                  <a:pt x="2470805" y="1973449"/>
                </a:lnTo>
                <a:lnTo>
                  <a:pt x="2470805" y="2084274"/>
                </a:lnTo>
                <a:lnTo>
                  <a:pt x="2359980" y="2084274"/>
                </a:lnTo>
                <a:close/>
                <a:moveTo>
                  <a:pt x="1309171" y="1973449"/>
                </a:moveTo>
                <a:lnTo>
                  <a:pt x="1419995" y="1973449"/>
                </a:lnTo>
                <a:lnTo>
                  <a:pt x="1419995" y="2084274"/>
                </a:lnTo>
                <a:lnTo>
                  <a:pt x="1309171" y="2084274"/>
                </a:lnTo>
                <a:close/>
                <a:moveTo>
                  <a:pt x="4461591" y="1973448"/>
                </a:moveTo>
                <a:lnTo>
                  <a:pt x="4572416" y="1973448"/>
                </a:lnTo>
                <a:lnTo>
                  <a:pt x="4572416" y="2084273"/>
                </a:lnTo>
                <a:lnTo>
                  <a:pt x="4461591" y="2084273"/>
                </a:lnTo>
                <a:close/>
                <a:moveTo>
                  <a:pt x="3410788" y="1973448"/>
                </a:moveTo>
                <a:lnTo>
                  <a:pt x="3521614" y="1973448"/>
                </a:lnTo>
                <a:lnTo>
                  <a:pt x="3521614" y="2084273"/>
                </a:lnTo>
                <a:lnTo>
                  <a:pt x="3410788" y="2084273"/>
                </a:lnTo>
                <a:close/>
                <a:moveTo>
                  <a:pt x="6563205" y="1973448"/>
                </a:moveTo>
                <a:lnTo>
                  <a:pt x="6674030" y="1973448"/>
                </a:lnTo>
                <a:lnTo>
                  <a:pt x="6674030" y="2084273"/>
                </a:lnTo>
                <a:lnTo>
                  <a:pt x="6563205" y="2084273"/>
                </a:lnTo>
                <a:close/>
                <a:moveTo>
                  <a:pt x="5512399" y="1973448"/>
                </a:moveTo>
                <a:lnTo>
                  <a:pt x="5623224" y="1973448"/>
                </a:lnTo>
                <a:lnTo>
                  <a:pt x="5623224" y="2084273"/>
                </a:lnTo>
                <a:lnTo>
                  <a:pt x="5512399" y="2084273"/>
                </a:lnTo>
                <a:close/>
                <a:moveTo>
                  <a:pt x="7614013" y="1973448"/>
                </a:moveTo>
                <a:lnTo>
                  <a:pt x="7724838" y="1973448"/>
                </a:lnTo>
                <a:lnTo>
                  <a:pt x="7724838" y="2084273"/>
                </a:lnTo>
                <a:lnTo>
                  <a:pt x="7614013" y="2084273"/>
                </a:lnTo>
                <a:close/>
                <a:moveTo>
                  <a:pt x="9715629" y="1973448"/>
                </a:moveTo>
                <a:lnTo>
                  <a:pt x="9826454" y="1973448"/>
                </a:lnTo>
                <a:lnTo>
                  <a:pt x="9826454" y="2084273"/>
                </a:lnTo>
                <a:lnTo>
                  <a:pt x="9715629" y="2084273"/>
                </a:lnTo>
                <a:close/>
                <a:moveTo>
                  <a:pt x="8664821" y="1973448"/>
                </a:moveTo>
                <a:lnTo>
                  <a:pt x="8775646" y="1973448"/>
                </a:lnTo>
                <a:lnTo>
                  <a:pt x="8775646" y="2084273"/>
                </a:lnTo>
                <a:lnTo>
                  <a:pt x="8664821" y="2084273"/>
                </a:lnTo>
                <a:close/>
                <a:moveTo>
                  <a:pt x="11817249" y="1973448"/>
                </a:moveTo>
                <a:lnTo>
                  <a:pt x="11928074" y="1973448"/>
                </a:lnTo>
                <a:lnTo>
                  <a:pt x="11928074" y="2084273"/>
                </a:lnTo>
                <a:lnTo>
                  <a:pt x="11817249" y="2084273"/>
                </a:lnTo>
                <a:close/>
                <a:moveTo>
                  <a:pt x="10766437" y="1973448"/>
                </a:moveTo>
                <a:lnTo>
                  <a:pt x="10877262" y="1973448"/>
                </a:lnTo>
                <a:lnTo>
                  <a:pt x="10877262" y="2084273"/>
                </a:lnTo>
                <a:lnTo>
                  <a:pt x="10766437" y="2084273"/>
                </a:lnTo>
                <a:close/>
                <a:moveTo>
                  <a:pt x="3441643" y="1557959"/>
                </a:moveTo>
                <a:lnTo>
                  <a:pt x="2968431" y="2031169"/>
                </a:lnTo>
                <a:lnTo>
                  <a:pt x="3437348" y="2500070"/>
                </a:lnTo>
                <a:lnTo>
                  <a:pt x="3497959" y="2500070"/>
                </a:lnTo>
                <a:lnTo>
                  <a:pt x="3966865" y="2031168"/>
                </a:lnTo>
                <a:lnTo>
                  <a:pt x="3493665" y="1557959"/>
                </a:lnTo>
                <a:close/>
                <a:moveTo>
                  <a:pt x="2390961" y="1557959"/>
                </a:moveTo>
                <a:lnTo>
                  <a:pt x="1917745" y="2031169"/>
                </a:lnTo>
                <a:lnTo>
                  <a:pt x="2386665" y="2500070"/>
                </a:lnTo>
                <a:lnTo>
                  <a:pt x="2447277" y="2500070"/>
                </a:lnTo>
                <a:lnTo>
                  <a:pt x="2916189" y="2031169"/>
                </a:lnTo>
                <a:lnTo>
                  <a:pt x="2442980" y="1557959"/>
                </a:lnTo>
                <a:close/>
                <a:moveTo>
                  <a:pt x="1340273" y="1557959"/>
                </a:moveTo>
                <a:lnTo>
                  <a:pt x="867066" y="2031167"/>
                </a:lnTo>
                <a:lnTo>
                  <a:pt x="1335980" y="2500070"/>
                </a:lnTo>
                <a:lnTo>
                  <a:pt x="1396589" y="2500070"/>
                </a:lnTo>
                <a:lnTo>
                  <a:pt x="1865501" y="2031169"/>
                </a:lnTo>
                <a:lnTo>
                  <a:pt x="1392293" y="1557959"/>
                </a:lnTo>
                <a:close/>
                <a:moveTo>
                  <a:pt x="5542986" y="1557958"/>
                </a:moveTo>
                <a:lnTo>
                  <a:pt x="5069790" y="2031167"/>
                </a:lnTo>
                <a:lnTo>
                  <a:pt x="5538694" y="2500070"/>
                </a:lnTo>
                <a:lnTo>
                  <a:pt x="5599302" y="2500070"/>
                </a:lnTo>
                <a:lnTo>
                  <a:pt x="6068206" y="2031166"/>
                </a:lnTo>
                <a:lnTo>
                  <a:pt x="5595011" y="1557958"/>
                </a:lnTo>
                <a:close/>
                <a:moveTo>
                  <a:pt x="4492305" y="1557958"/>
                </a:moveTo>
                <a:lnTo>
                  <a:pt x="4019109" y="2031168"/>
                </a:lnTo>
                <a:lnTo>
                  <a:pt x="4488010" y="2500070"/>
                </a:lnTo>
                <a:lnTo>
                  <a:pt x="4548620" y="2500070"/>
                </a:lnTo>
                <a:lnTo>
                  <a:pt x="5017539" y="2031167"/>
                </a:lnTo>
                <a:lnTo>
                  <a:pt x="4544326" y="1557958"/>
                </a:lnTo>
                <a:close/>
                <a:moveTo>
                  <a:pt x="7644337" y="1557958"/>
                </a:moveTo>
                <a:lnTo>
                  <a:pt x="7171129" y="2031167"/>
                </a:lnTo>
                <a:lnTo>
                  <a:pt x="7640044" y="2500070"/>
                </a:lnTo>
                <a:lnTo>
                  <a:pt x="7700653" y="2500070"/>
                </a:lnTo>
                <a:lnTo>
                  <a:pt x="8169569" y="2031167"/>
                </a:lnTo>
                <a:lnTo>
                  <a:pt x="7696361" y="1557958"/>
                </a:lnTo>
                <a:close/>
                <a:moveTo>
                  <a:pt x="6593656" y="1557958"/>
                </a:moveTo>
                <a:lnTo>
                  <a:pt x="6120450" y="2031165"/>
                </a:lnTo>
                <a:lnTo>
                  <a:pt x="6589366" y="2500070"/>
                </a:lnTo>
                <a:lnTo>
                  <a:pt x="6649970" y="2500070"/>
                </a:lnTo>
                <a:lnTo>
                  <a:pt x="7118885" y="2031167"/>
                </a:lnTo>
                <a:lnTo>
                  <a:pt x="6645676" y="1557958"/>
                </a:lnTo>
                <a:close/>
                <a:moveTo>
                  <a:pt x="9745703" y="1557958"/>
                </a:moveTo>
                <a:lnTo>
                  <a:pt x="9272494" y="2031167"/>
                </a:lnTo>
                <a:lnTo>
                  <a:pt x="9741408" y="2500070"/>
                </a:lnTo>
                <a:lnTo>
                  <a:pt x="9802016" y="2500070"/>
                </a:lnTo>
                <a:lnTo>
                  <a:pt x="10270931" y="2031167"/>
                </a:lnTo>
                <a:lnTo>
                  <a:pt x="9797723" y="1557958"/>
                </a:lnTo>
                <a:close/>
                <a:moveTo>
                  <a:pt x="8695019" y="1557958"/>
                </a:moveTo>
                <a:lnTo>
                  <a:pt x="8221812" y="2031166"/>
                </a:lnTo>
                <a:lnTo>
                  <a:pt x="8690730" y="2500070"/>
                </a:lnTo>
                <a:lnTo>
                  <a:pt x="8751334" y="2500070"/>
                </a:lnTo>
                <a:lnTo>
                  <a:pt x="9220250" y="2031166"/>
                </a:lnTo>
                <a:lnTo>
                  <a:pt x="8747043" y="1557958"/>
                </a:lnTo>
                <a:close/>
                <a:moveTo>
                  <a:pt x="10796383" y="1557958"/>
                </a:moveTo>
                <a:lnTo>
                  <a:pt x="10323175" y="2031166"/>
                </a:lnTo>
                <a:lnTo>
                  <a:pt x="10792091" y="2500070"/>
                </a:lnTo>
                <a:lnTo>
                  <a:pt x="10852696" y="2500070"/>
                </a:lnTo>
                <a:lnTo>
                  <a:pt x="11321614" y="2031164"/>
                </a:lnTo>
                <a:lnTo>
                  <a:pt x="10848409" y="1557958"/>
                </a:lnTo>
                <a:close/>
                <a:moveTo>
                  <a:pt x="783781" y="1447135"/>
                </a:moveTo>
                <a:lnTo>
                  <a:pt x="894606" y="1447135"/>
                </a:lnTo>
                <a:lnTo>
                  <a:pt x="894606" y="1557959"/>
                </a:lnTo>
                <a:lnTo>
                  <a:pt x="783781" y="1557959"/>
                </a:lnTo>
                <a:close/>
                <a:moveTo>
                  <a:pt x="1834586" y="1447134"/>
                </a:moveTo>
                <a:lnTo>
                  <a:pt x="1945411" y="1447134"/>
                </a:lnTo>
                <a:lnTo>
                  <a:pt x="1945411" y="1557959"/>
                </a:lnTo>
                <a:lnTo>
                  <a:pt x="1834586" y="1557959"/>
                </a:lnTo>
                <a:close/>
                <a:moveTo>
                  <a:pt x="4987002" y="1447134"/>
                </a:moveTo>
                <a:lnTo>
                  <a:pt x="5097832" y="1447134"/>
                </a:lnTo>
                <a:lnTo>
                  <a:pt x="5097832" y="1557958"/>
                </a:lnTo>
                <a:lnTo>
                  <a:pt x="4987002" y="1557958"/>
                </a:lnTo>
                <a:close/>
                <a:moveTo>
                  <a:pt x="3936204" y="1447134"/>
                </a:moveTo>
                <a:lnTo>
                  <a:pt x="4047028" y="1447134"/>
                </a:lnTo>
                <a:lnTo>
                  <a:pt x="4047028" y="1557959"/>
                </a:lnTo>
                <a:lnTo>
                  <a:pt x="3936204" y="1557959"/>
                </a:lnTo>
                <a:close/>
                <a:moveTo>
                  <a:pt x="2885398" y="1447134"/>
                </a:moveTo>
                <a:lnTo>
                  <a:pt x="2996224" y="1447134"/>
                </a:lnTo>
                <a:lnTo>
                  <a:pt x="2996224" y="1557959"/>
                </a:lnTo>
                <a:lnTo>
                  <a:pt x="2885398" y="1557959"/>
                </a:lnTo>
                <a:close/>
                <a:moveTo>
                  <a:pt x="6037801" y="1447133"/>
                </a:moveTo>
                <a:lnTo>
                  <a:pt x="6148626" y="1447133"/>
                </a:lnTo>
                <a:lnTo>
                  <a:pt x="6148626" y="1557958"/>
                </a:lnTo>
                <a:lnTo>
                  <a:pt x="6037801" y="1557958"/>
                </a:lnTo>
                <a:close/>
                <a:moveTo>
                  <a:pt x="9190225" y="1447133"/>
                </a:moveTo>
                <a:lnTo>
                  <a:pt x="9301050" y="1447133"/>
                </a:lnTo>
                <a:lnTo>
                  <a:pt x="9301050" y="1557958"/>
                </a:lnTo>
                <a:lnTo>
                  <a:pt x="9190225" y="1557958"/>
                </a:lnTo>
                <a:close/>
                <a:moveTo>
                  <a:pt x="8139417" y="1447133"/>
                </a:moveTo>
                <a:lnTo>
                  <a:pt x="8250242" y="1447133"/>
                </a:lnTo>
                <a:lnTo>
                  <a:pt x="8250242" y="1557958"/>
                </a:lnTo>
                <a:lnTo>
                  <a:pt x="8139417" y="1557958"/>
                </a:lnTo>
                <a:close/>
                <a:moveTo>
                  <a:pt x="7088609" y="1447133"/>
                </a:moveTo>
                <a:lnTo>
                  <a:pt x="7199434" y="1447133"/>
                </a:lnTo>
                <a:lnTo>
                  <a:pt x="7199434" y="1557958"/>
                </a:lnTo>
                <a:lnTo>
                  <a:pt x="7088609" y="1557958"/>
                </a:lnTo>
                <a:close/>
                <a:moveTo>
                  <a:pt x="10241033" y="1447133"/>
                </a:moveTo>
                <a:lnTo>
                  <a:pt x="10351858" y="1447133"/>
                </a:lnTo>
                <a:lnTo>
                  <a:pt x="10351858" y="1557957"/>
                </a:lnTo>
                <a:lnTo>
                  <a:pt x="10241033" y="1557957"/>
                </a:lnTo>
                <a:close/>
                <a:moveTo>
                  <a:pt x="11291841" y="1447133"/>
                </a:moveTo>
                <a:lnTo>
                  <a:pt x="11402666" y="1447133"/>
                </a:lnTo>
                <a:lnTo>
                  <a:pt x="11402666" y="1557957"/>
                </a:lnTo>
                <a:lnTo>
                  <a:pt x="11291841" y="1557957"/>
                </a:lnTo>
                <a:close/>
                <a:moveTo>
                  <a:pt x="2942310" y="1006607"/>
                </a:moveTo>
                <a:lnTo>
                  <a:pt x="2470820" y="1478100"/>
                </a:lnTo>
                <a:lnTo>
                  <a:pt x="2470820" y="1533556"/>
                </a:lnTo>
                <a:lnTo>
                  <a:pt x="2942310" y="2005047"/>
                </a:lnTo>
                <a:lnTo>
                  <a:pt x="3410804" y="1536556"/>
                </a:lnTo>
                <a:lnTo>
                  <a:pt x="3410804" y="1475099"/>
                </a:lnTo>
                <a:close/>
                <a:moveTo>
                  <a:pt x="1891623" y="1006607"/>
                </a:moveTo>
                <a:lnTo>
                  <a:pt x="1420008" y="1478224"/>
                </a:lnTo>
                <a:lnTo>
                  <a:pt x="1420008" y="1533431"/>
                </a:lnTo>
                <a:lnTo>
                  <a:pt x="1891623" y="2005047"/>
                </a:lnTo>
                <a:lnTo>
                  <a:pt x="2359996" y="1536681"/>
                </a:lnTo>
                <a:lnTo>
                  <a:pt x="2359996" y="1474975"/>
                </a:lnTo>
                <a:close/>
                <a:moveTo>
                  <a:pt x="840943" y="1006607"/>
                </a:moveTo>
                <a:lnTo>
                  <a:pt x="369202" y="1478351"/>
                </a:lnTo>
                <a:lnTo>
                  <a:pt x="369202" y="1533303"/>
                </a:lnTo>
                <a:lnTo>
                  <a:pt x="840944" y="2005046"/>
                </a:lnTo>
                <a:lnTo>
                  <a:pt x="1309184" y="1536806"/>
                </a:lnTo>
                <a:lnTo>
                  <a:pt x="1309184" y="1474850"/>
                </a:lnTo>
                <a:close/>
                <a:moveTo>
                  <a:pt x="3992987" y="1006606"/>
                </a:moveTo>
                <a:lnTo>
                  <a:pt x="3521631" y="1477974"/>
                </a:lnTo>
                <a:lnTo>
                  <a:pt x="3521631" y="1533680"/>
                </a:lnTo>
                <a:lnTo>
                  <a:pt x="3992986" y="2005046"/>
                </a:lnTo>
                <a:lnTo>
                  <a:pt x="4461598" y="1536423"/>
                </a:lnTo>
                <a:lnTo>
                  <a:pt x="4461598" y="1475230"/>
                </a:lnTo>
                <a:close/>
                <a:moveTo>
                  <a:pt x="6094326" y="1006605"/>
                </a:moveTo>
                <a:lnTo>
                  <a:pt x="5623230" y="1477714"/>
                </a:lnTo>
                <a:lnTo>
                  <a:pt x="5623230" y="1533934"/>
                </a:lnTo>
                <a:lnTo>
                  <a:pt x="6094328" y="2005044"/>
                </a:lnTo>
                <a:lnTo>
                  <a:pt x="6563205" y="1536166"/>
                </a:lnTo>
                <a:lnTo>
                  <a:pt x="6563205" y="1475487"/>
                </a:lnTo>
                <a:close/>
                <a:moveTo>
                  <a:pt x="9246371" y="1006604"/>
                </a:moveTo>
                <a:lnTo>
                  <a:pt x="8775646" y="1477332"/>
                </a:lnTo>
                <a:lnTo>
                  <a:pt x="8775646" y="1534319"/>
                </a:lnTo>
                <a:lnTo>
                  <a:pt x="9246371" y="2005045"/>
                </a:lnTo>
                <a:lnTo>
                  <a:pt x="9715629" y="1535786"/>
                </a:lnTo>
                <a:lnTo>
                  <a:pt x="9715629" y="1475864"/>
                </a:lnTo>
                <a:close/>
                <a:moveTo>
                  <a:pt x="5043669" y="1006604"/>
                </a:moveTo>
                <a:lnTo>
                  <a:pt x="4572422" y="1477843"/>
                </a:lnTo>
                <a:lnTo>
                  <a:pt x="4572422" y="1533811"/>
                </a:lnTo>
                <a:lnTo>
                  <a:pt x="5043664" y="2005045"/>
                </a:lnTo>
                <a:lnTo>
                  <a:pt x="5512407" y="1536296"/>
                </a:lnTo>
                <a:lnTo>
                  <a:pt x="5512407" y="1475351"/>
                </a:lnTo>
                <a:close/>
                <a:moveTo>
                  <a:pt x="11347735" y="1006604"/>
                </a:moveTo>
                <a:lnTo>
                  <a:pt x="10877262" y="1477079"/>
                </a:lnTo>
                <a:lnTo>
                  <a:pt x="10877262" y="1534567"/>
                </a:lnTo>
                <a:lnTo>
                  <a:pt x="11347736" y="2005041"/>
                </a:lnTo>
                <a:lnTo>
                  <a:pt x="11817249" y="1535528"/>
                </a:lnTo>
                <a:lnTo>
                  <a:pt x="11817249" y="1476120"/>
                </a:lnTo>
                <a:close/>
                <a:moveTo>
                  <a:pt x="8195690" y="1006604"/>
                </a:moveTo>
                <a:lnTo>
                  <a:pt x="7724838" y="1477458"/>
                </a:lnTo>
                <a:lnTo>
                  <a:pt x="7724838" y="1534191"/>
                </a:lnTo>
                <a:lnTo>
                  <a:pt x="8195691" y="2005044"/>
                </a:lnTo>
                <a:lnTo>
                  <a:pt x="8664821" y="1535914"/>
                </a:lnTo>
                <a:lnTo>
                  <a:pt x="8664821" y="1475736"/>
                </a:lnTo>
                <a:close/>
                <a:moveTo>
                  <a:pt x="7145009" y="1006604"/>
                </a:moveTo>
                <a:lnTo>
                  <a:pt x="6674030" y="1477584"/>
                </a:lnTo>
                <a:lnTo>
                  <a:pt x="6674030" y="1534069"/>
                </a:lnTo>
                <a:lnTo>
                  <a:pt x="7145007" y="2005046"/>
                </a:lnTo>
                <a:lnTo>
                  <a:pt x="7614013" y="1536039"/>
                </a:lnTo>
                <a:lnTo>
                  <a:pt x="7614013" y="1475610"/>
                </a:lnTo>
                <a:close/>
                <a:moveTo>
                  <a:pt x="10297056" y="1006603"/>
                </a:moveTo>
                <a:lnTo>
                  <a:pt x="9826454" y="1477207"/>
                </a:lnTo>
                <a:lnTo>
                  <a:pt x="9826454" y="1534445"/>
                </a:lnTo>
                <a:lnTo>
                  <a:pt x="10297053" y="2005045"/>
                </a:lnTo>
                <a:lnTo>
                  <a:pt x="10766437" y="1535660"/>
                </a:lnTo>
                <a:lnTo>
                  <a:pt x="10766437" y="1475986"/>
                </a:lnTo>
                <a:close/>
                <a:moveTo>
                  <a:pt x="258361" y="922634"/>
                </a:moveTo>
                <a:lnTo>
                  <a:pt x="369186" y="922634"/>
                </a:lnTo>
                <a:lnTo>
                  <a:pt x="369186" y="1033459"/>
                </a:lnTo>
                <a:lnTo>
                  <a:pt x="258361" y="1033459"/>
                </a:lnTo>
                <a:close/>
                <a:moveTo>
                  <a:pt x="2359977" y="922633"/>
                </a:moveTo>
                <a:lnTo>
                  <a:pt x="2470802" y="922633"/>
                </a:lnTo>
                <a:lnTo>
                  <a:pt x="2470802" y="1033458"/>
                </a:lnTo>
                <a:lnTo>
                  <a:pt x="2359977" y="1033458"/>
                </a:lnTo>
                <a:close/>
                <a:moveTo>
                  <a:pt x="1309169" y="922633"/>
                </a:moveTo>
                <a:lnTo>
                  <a:pt x="1419993" y="922633"/>
                </a:lnTo>
                <a:lnTo>
                  <a:pt x="1419993" y="1033458"/>
                </a:lnTo>
                <a:lnTo>
                  <a:pt x="1309169" y="1033458"/>
                </a:lnTo>
                <a:close/>
                <a:moveTo>
                  <a:pt x="5512398" y="922633"/>
                </a:moveTo>
                <a:lnTo>
                  <a:pt x="5623223" y="922633"/>
                </a:lnTo>
                <a:lnTo>
                  <a:pt x="5623223" y="1033458"/>
                </a:lnTo>
                <a:lnTo>
                  <a:pt x="5512398" y="1033458"/>
                </a:lnTo>
                <a:close/>
                <a:moveTo>
                  <a:pt x="4461591" y="922633"/>
                </a:moveTo>
                <a:lnTo>
                  <a:pt x="4572415" y="922633"/>
                </a:lnTo>
                <a:lnTo>
                  <a:pt x="4572415" y="1033458"/>
                </a:lnTo>
                <a:lnTo>
                  <a:pt x="4461591" y="1033458"/>
                </a:lnTo>
                <a:close/>
                <a:moveTo>
                  <a:pt x="3410785" y="922633"/>
                </a:moveTo>
                <a:lnTo>
                  <a:pt x="3521610" y="922633"/>
                </a:lnTo>
                <a:lnTo>
                  <a:pt x="3521610" y="1033458"/>
                </a:lnTo>
                <a:lnTo>
                  <a:pt x="3410785" y="1033458"/>
                </a:lnTo>
                <a:close/>
                <a:moveTo>
                  <a:pt x="7614013" y="922633"/>
                </a:moveTo>
                <a:lnTo>
                  <a:pt x="7724838" y="922633"/>
                </a:lnTo>
                <a:lnTo>
                  <a:pt x="7724838" y="1033458"/>
                </a:lnTo>
                <a:lnTo>
                  <a:pt x="7614013" y="1033458"/>
                </a:lnTo>
                <a:close/>
                <a:moveTo>
                  <a:pt x="6563205" y="922633"/>
                </a:moveTo>
                <a:lnTo>
                  <a:pt x="6674030" y="922633"/>
                </a:lnTo>
                <a:lnTo>
                  <a:pt x="6674030" y="1033458"/>
                </a:lnTo>
                <a:lnTo>
                  <a:pt x="6563205" y="1033458"/>
                </a:lnTo>
                <a:close/>
                <a:moveTo>
                  <a:pt x="10766437" y="922633"/>
                </a:moveTo>
                <a:lnTo>
                  <a:pt x="10877262" y="922633"/>
                </a:lnTo>
                <a:lnTo>
                  <a:pt x="10877262" y="1033458"/>
                </a:lnTo>
                <a:lnTo>
                  <a:pt x="10766437" y="1033458"/>
                </a:lnTo>
                <a:close/>
                <a:moveTo>
                  <a:pt x="9715629" y="922633"/>
                </a:moveTo>
                <a:lnTo>
                  <a:pt x="9826454" y="922633"/>
                </a:lnTo>
                <a:lnTo>
                  <a:pt x="9826454" y="1033458"/>
                </a:lnTo>
                <a:lnTo>
                  <a:pt x="9715629" y="1033458"/>
                </a:lnTo>
                <a:close/>
                <a:moveTo>
                  <a:pt x="8664821" y="922633"/>
                </a:moveTo>
                <a:lnTo>
                  <a:pt x="8775646" y="922633"/>
                </a:lnTo>
                <a:lnTo>
                  <a:pt x="8775646" y="1033458"/>
                </a:lnTo>
                <a:lnTo>
                  <a:pt x="8664821" y="1033458"/>
                </a:lnTo>
                <a:close/>
                <a:moveTo>
                  <a:pt x="11817249" y="922633"/>
                </a:moveTo>
                <a:lnTo>
                  <a:pt x="11928074" y="922633"/>
                </a:lnTo>
                <a:lnTo>
                  <a:pt x="11928074" y="1033458"/>
                </a:lnTo>
                <a:lnTo>
                  <a:pt x="11817249" y="1033458"/>
                </a:lnTo>
                <a:close/>
                <a:moveTo>
                  <a:pt x="1337485" y="510062"/>
                </a:moveTo>
                <a:lnTo>
                  <a:pt x="867065" y="980486"/>
                </a:lnTo>
                <a:lnTo>
                  <a:pt x="1333712" y="1447134"/>
                </a:lnTo>
                <a:lnTo>
                  <a:pt x="1398855" y="1447134"/>
                </a:lnTo>
                <a:lnTo>
                  <a:pt x="1865501" y="980486"/>
                </a:lnTo>
                <a:lnTo>
                  <a:pt x="1395081" y="510062"/>
                </a:lnTo>
                <a:close/>
                <a:moveTo>
                  <a:pt x="2388173" y="510062"/>
                </a:moveTo>
                <a:lnTo>
                  <a:pt x="1917745" y="980486"/>
                </a:lnTo>
                <a:lnTo>
                  <a:pt x="2384399" y="1447134"/>
                </a:lnTo>
                <a:lnTo>
                  <a:pt x="2449542" y="1447134"/>
                </a:lnTo>
                <a:lnTo>
                  <a:pt x="2916189" y="980486"/>
                </a:lnTo>
                <a:lnTo>
                  <a:pt x="2445767" y="510062"/>
                </a:lnTo>
                <a:close/>
                <a:moveTo>
                  <a:pt x="3438856" y="510062"/>
                </a:moveTo>
                <a:lnTo>
                  <a:pt x="2968432" y="980486"/>
                </a:lnTo>
                <a:lnTo>
                  <a:pt x="3435083" y="1447134"/>
                </a:lnTo>
                <a:lnTo>
                  <a:pt x="3500228" y="1447134"/>
                </a:lnTo>
                <a:lnTo>
                  <a:pt x="3966865" y="980485"/>
                </a:lnTo>
                <a:lnTo>
                  <a:pt x="3496454" y="510062"/>
                </a:lnTo>
                <a:close/>
                <a:moveTo>
                  <a:pt x="4489518" y="510062"/>
                </a:moveTo>
                <a:lnTo>
                  <a:pt x="4019109" y="980485"/>
                </a:lnTo>
                <a:lnTo>
                  <a:pt x="4485744" y="1447134"/>
                </a:lnTo>
                <a:lnTo>
                  <a:pt x="4550887" y="1447134"/>
                </a:lnTo>
                <a:lnTo>
                  <a:pt x="5017543" y="980483"/>
                </a:lnTo>
                <a:lnTo>
                  <a:pt x="4547118" y="510062"/>
                </a:lnTo>
                <a:close/>
                <a:moveTo>
                  <a:pt x="5540201" y="510062"/>
                </a:moveTo>
                <a:lnTo>
                  <a:pt x="5069792" y="980483"/>
                </a:lnTo>
                <a:lnTo>
                  <a:pt x="5536431" y="1447134"/>
                </a:lnTo>
                <a:lnTo>
                  <a:pt x="5601567" y="1447134"/>
                </a:lnTo>
                <a:lnTo>
                  <a:pt x="6068204" y="980484"/>
                </a:lnTo>
                <a:lnTo>
                  <a:pt x="5597797" y="510062"/>
                </a:lnTo>
                <a:close/>
                <a:moveTo>
                  <a:pt x="6590867" y="510062"/>
                </a:moveTo>
                <a:lnTo>
                  <a:pt x="6120447" y="980484"/>
                </a:lnTo>
                <a:lnTo>
                  <a:pt x="6587095" y="1447133"/>
                </a:lnTo>
                <a:lnTo>
                  <a:pt x="6652238" y="1447133"/>
                </a:lnTo>
                <a:lnTo>
                  <a:pt x="7118887" y="980483"/>
                </a:lnTo>
                <a:lnTo>
                  <a:pt x="6648468" y="510062"/>
                </a:lnTo>
                <a:close/>
                <a:moveTo>
                  <a:pt x="7641550" y="510061"/>
                </a:moveTo>
                <a:lnTo>
                  <a:pt x="7171131" y="980482"/>
                </a:lnTo>
                <a:lnTo>
                  <a:pt x="7637780" y="1447133"/>
                </a:lnTo>
                <a:lnTo>
                  <a:pt x="7702919" y="1447133"/>
                </a:lnTo>
                <a:lnTo>
                  <a:pt x="8169568" y="980483"/>
                </a:lnTo>
                <a:lnTo>
                  <a:pt x="7699149" y="510061"/>
                </a:lnTo>
                <a:close/>
                <a:moveTo>
                  <a:pt x="8692232" y="510061"/>
                </a:moveTo>
                <a:lnTo>
                  <a:pt x="8221811" y="980484"/>
                </a:lnTo>
                <a:lnTo>
                  <a:pt x="8688459" y="1447133"/>
                </a:lnTo>
                <a:lnTo>
                  <a:pt x="8753603" y="1447133"/>
                </a:lnTo>
                <a:lnTo>
                  <a:pt x="9220250" y="980484"/>
                </a:lnTo>
                <a:lnTo>
                  <a:pt x="8749829" y="510061"/>
                </a:lnTo>
                <a:close/>
                <a:moveTo>
                  <a:pt x="10793597" y="510061"/>
                </a:moveTo>
                <a:lnTo>
                  <a:pt x="10323178" y="980482"/>
                </a:lnTo>
                <a:lnTo>
                  <a:pt x="10789828" y="1447133"/>
                </a:lnTo>
                <a:lnTo>
                  <a:pt x="10854964" y="1447133"/>
                </a:lnTo>
                <a:lnTo>
                  <a:pt x="11321613" y="980483"/>
                </a:lnTo>
                <a:lnTo>
                  <a:pt x="10851193" y="510061"/>
                </a:lnTo>
                <a:close/>
                <a:moveTo>
                  <a:pt x="9742913" y="510061"/>
                </a:moveTo>
                <a:lnTo>
                  <a:pt x="9272493" y="980483"/>
                </a:lnTo>
                <a:lnTo>
                  <a:pt x="9739141" y="1447133"/>
                </a:lnTo>
                <a:lnTo>
                  <a:pt x="9804283" y="1447133"/>
                </a:lnTo>
                <a:lnTo>
                  <a:pt x="10270933" y="980481"/>
                </a:lnTo>
                <a:lnTo>
                  <a:pt x="9800515" y="510061"/>
                </a:lnTo>
                <a:close/>
                <a:moveTo>
                  <a:pt x="783785" y="399238"/>
                </a:moveTo>
                <a:lnTo>
                  <a:pt x="894609" y="399238"/>
                </a:lnTo>
                <a:lnTo>
                  <a:pt x="894609" y="510062"/>
                </a:lnTo>
                <a:lnTo>
                  <a:pt x="783785" y="510062"/>
                </a:lnTo>
                <a:close/>
                <a:moveTo>
                  <a:pt x="2885401" y="399237"/>
                </a:moveTo>
                <a:lnTo>
                  <a:pt x="2996227" y="399237"/>
                </a:lnTo>
                <a:lnTo>
                  <a:pt x="2996227" y="510062"/>
                </a:lnTo>
                <a:lnTo>
                  <a:pt x="2885401" y="510062"/>
                </a:lnTo>
                <a:close/>
                <a:moveTo>
                  <a:pt x="1834590" y="399237"/>
                </a:moveTo>
                <a:lnTo>
                  <a:pt x="1945415" y="399237"/>
                </a:lnTo>
                <a:lnTo>
                  <a:pt x="1945415" y="510062"/>
                </a:lnTo>
                <a:lnTo>
                  <a:pt x="1834590" y="510062"/>
                </a:lnTo>
                <a:close/>
                <a:moveTo>
                  <a:pt x="3936208" y="399237"/>
                </a:moveTo>
                <a:lnTo>
                  <a:pt x="4047032" y="399237"/>
                </a:lnTo>
                <a:lnTo>
                  <a:pt x="4047032" y="510062"/>
                </a:lnTo>
                <a:lnTo>
                  <a:pt x="3936208" y="510062"/>
                </a:lnTo>
                <a:close/>
                <a:moveTo>
                  <a:pt x="4987004" y="399237"/>
                </a:moveTo>
                <a:lnTo>
                  <a:pt x="5097834" y="399237"/>
                </a:lnTo>
                <a:lnTo>
                  <a:pt x="5097834" y="510062"/>
                </a:lnTo>
                <a:lnTo>
                  <a:pt x="4987004" y="510062"/>
                </a:lnTo>
                <a:close/>
                <a:moveTo>
                  <a:pt x="6037802" y="399237"/>
                </a:moveTo>
                <a:lnTo>
                  <a:pt x="6148626" y="399237"/>
                </a:lnTo>
                <a:lnTo>
                  <a:pt x="6148626" y="510062"/>
                </a:lnTo>
                <a:lnTo>
                  <a:pt x="6037802" y="510062"/>
                </a:lnTo>
                <a:close/>
                <a:moveTo>
                  <a:pt x="7088609" y="399237"/>
                </a:moveTo>
                <a:lnTo>
                  <a:pt x="7199434" y="399237"/>
                </a:lnTo>
                <a:lnTo>
                  <a:pt x="7199434" y="510061"/>
                </a:lnTo>
                <a:lnTo>
                  <a:pt x="7088609" y="510061"/>
                </a:lnTo>
                <a:close/>
                <a:moveTo>
                  <a:pt x="8139417" y="399237"/>
                </a:moveTo>
                <a:lnTo>
                  <a:pt x="8250242" y="399237"/>
                </a:lnTo>
                <a:lnTo>
                  <a:pt x="8250242" y="510061"/>
                </a:lnTo>
                <a:lnTo>
                  <a:pt x="8139417" y="510061"/>
                </a:lnTo>
                <a:close/>
                <a:moveTo>
                  <a:pt x="9190225" y="399236"/>
                </a:moveTo>
                <a:lnTo>
                  <a:pt x="9301050" y="399236"/>
                </a:lnTo>
                <a:lnTo>
                  <a:pt x="9301050" y="510061"/>
                </a:lnTo>
                <a:lnTo>
                  <a:pt x="9190225" y="510061"/>
                </a:lnTo>
                <a:close/>
                <a:moveTo>
                  <a:pt x="10241033" y="399236"/>
                </a:moveTo>
                <a:lnTo>
                  <a:pt x="10351858" y="399236"/>
                </a:lnTo>
                <a:lnTo>
                  <a:pt x="10351858" y="510061"/>
                </a:lnTo>
                <a:lnTo>
                  <a:pt x="10241033" y="510061"/>
                </a:lnTo>
                <a:close/>
                <a:moveTo>
                  <a:pt x="11291841" y="399236"/>
                </a:moveTo>
                <a:lnTo>
                  <a:pt x="11402666" y="399236"/>
                </a:lnTo>
                <a:lnTo>
                  <a:pt x="11402666" y="510061"/>
                </a:lnTo>
                <a:lnTo>
                  <a:pt x="11291841" y="510061"/>
                </a:lnTo>
                <a:close/>
                <a:moveTo>
                  <a:pt x="6138405" y="0"/>
                </a:moveTo>
                <a:lnTo>
                  <a:pt x="6190649" y="0"/>
                </a:lnTo>
                <a:lnTo>
                  <a:pt x="6589887" y="399237"/>
                </a:lnTo>
                <a:lnTo>
                  <a:pt x="6649449" y="399237"/>
                </a:lnTo>
                <a:lnTo>
                  <a:pt x="7048684" y="2"/>
                </a:lnTo>
                <a:lnTo>
                  <a:pt x="7100928" y="2"/>
                </a:lnTo>
                <a:lnTo>
                  <a:pt x="6674030" y="426899"/>
                </a:lnTo>
                <a:lnTo>
                  <a:pt x="6674030" y="483379"/>
                </a:lnTo>
                <a:lnTo>
                  <a:pt x="7145009" y="954361"/>
                </a:lnTo>
                <a:lnTo>
                  <a:pt x="7614013" y="485355"/>
                </a:lnTo>
                <a:lnTo>
                  <a:pt x="7614013" y="424926"/>
                </a:lnTo>
                <a:lnTo>
                  <a:pt x="7189086" y="0"/>
                </a:lnTo>
                <a:lnTo>
                  <a:pt x="7241329" y="0"/>
                </a:lnTo>
                <a:lnTo>
                  <a:pt x="7640566" y="399237"/>
                </a:lnTo>
                <a:lnTo>
                  <a:pt x="7700131" y="399237"/>
                </a:lnTo>
                <a:lnTo>
                  <a:pt x="8099367" y="1"/>
                </a:lnTo>
                <a:lnTo>
                  <a:pt x="8151611" y="1"/>
                </a:lnTo>
                <a:lnTo>
                  <a:pt x="7724838" y="426774"/>
                </a:lnTo>
                <a:lnTo>
                  <a:pt x="7724838" y="483508"/>
                </a:lnTo>
                <a:lnTo>
                  <a:pt x="8195689" y="954363"/>
                </a:lnTo>
                <a:lnTo>
                  <a:pt x="8664821" y="485229"/>
                </a:lnTo>
                <a:lnTo>
                  <a:pt x="8664821" y="425053"/>
                </a:lnTo>
                <a:lnTo>
                  <a:pt x="8239767" y="0"/>
                </a:lnTo>
                <a:lnTo>
                  <a:pt x="8292011" y="0"/>
                </a:lnTo>
                <a:lnTo>
                  <a:pt x="8691248" y="399236"/>
                </a:lnTo>
                <a:lnTo>
                  <a:pt x="8750812" y="399236"/>
                </a:lnTo>
                <a:lnTo>
                  <a:pt x="9150049" y="1"/>
                </a:lnTo>
                <a:lnTo>
                  <a:pt x="9202293" y="1"/>
                </a:lnTo>
                <a:lnTo>
                  <a:pt x="8775646" y="426647"/>
                </a:lnTo>
                <a:lnTo>
                  <a:pt x="8775646" y="483635"/>
                </a:lnTo>
                <a:lnTo>
                  <a:pt x="9246372" y="954363"/>
                </a:lnTo>
                <a:lnTo>
                  <a:pt x="9715629" y="485103"/>
                </a:lnTo>
                <a:lnTo>
                  <a:pt x="9715629" y="425175"/>
                </a:lnTo>
                <a:lnTo>
                  <a:pt x="9290453" y="0"/>
                </a:lnTo>
                <a:lnTo>
                  <a:pt x="9342696" y="0"/>
                </a:lnTo>
                <a:lnTo>
                  <a:pt x="9741934" y="399236"/>
                </a:lnTo>
                <a:lnTo>
                  <a:pt x="9801496" y="399236"/>
                </a:lnTo>
                <a:lnTo>
                  <a:pt x="10200732" y="1"/>
                </a:lnTo>
                <a:lnTo>
                  <a:pt x="10252974" y="1"/>
                </a:lnTo>
                <a:lnTo>
                  <a:pt x="9826454" y="426520"/>
                </a:lnTo>
                <a:lnTo>
                  <a:pt x="9826454" y="483756"/>
                </a:lnTo>
                <a:lnTo>
                  <a:pt x="10297055" y="954360"/>
                </a:lnTo>
                <a:lnTo>
                  <a:pt x="10766437" y="484975"/>
                </a:lnTo>
                <a:lnTo>
                  <a:pt x="10766437" y="425305"/>
                </a:lnTo>
                <a:lnTo>
                  <a:pt x="10341131" y="0"/>
                </a:lnTo>
                <a:lnTo>
                  <a:pt x="10393375" y="0"/>
                </a:lnTo>
                <a:lnTo>
                  <a:pt x="10792612" y="399236"/>
                </a:lnTo>
                <a:lnTo>
                  <a:pt x="10852176" y="399236"/>
                </a:lnTo>
                <a:lnTo>
                  <a:pt x="11251411" y="3"/>
                </a:lnTo>
                <a:lnTo>
                  <a:pt x="11303657" y="3"/>
                </a:lnTo>
                <a:lnTo>
                  <a:pt x="10877262" y="426397"/>
                </a:lnTo>
                <a:lnTo>
                  <a:pt x="10877262" y="483887"/>
                </a:lnTo>
                <a:lnTo>
                  <a:pt x="11347735" y="954362"/>
                </a:lnTo>
                <a:lnTo>
                  <a:pt x="11817249" y="484846"/>
                </a:lnTo>
                <a:lnTo>
                  <a:pt x="11817249" y="425436"/>
                </a:lnTo>
                <a:lnTo>
                  <a:pt x="11391812" y="0"/>
                </a:lnTo>
                <a:lnTo>
                  <a:pt x="11444056" y="0"/>
                </a:lnTo>
                <a:lnTo>
                  <a:pt x="11843293" y="399236"/>
                </a:lnTo>
                <a:lnTo>
                  <a:pt x="11902859" y="399236"/>
                </a:lnTo>
                <a:lnTo>
                  <a:pt x="12191973" y="110123"/>
                </a:lnTo>
                <a:lnTo>
                  <a:pt x="12191973" y="162366"/>
                </a:lnTo>
                <a:lnTo>
                  <a:pt x="11928074" y="426265"/>
                </a:lnTo>
                <a:lnTo>
                  <a:pt x="11928074" y="484017"/>
                </a:lnTo>
                <a:lnTo>
                  <a:pt x="12191974" y="747926"/>
                </a:lnTo>
                <a:lnTo>
                  <a:pt x="12191974" y="800166"/>
                </a:lnTo>
                <a:lnTo>
                  <a:pt x="11901874" y="510061"/>
                </a:lnTo>
                <a:lnTo>
                  <a:pt x="11844278" y="510061"/>
                </a:lnTo>
                <a:lnTo>
                  <a:pt x="11373857" y="980483"/>
                </a:lnTo>
                <a:lnTo>
                  <a:pt x="11840505" y="1447132"/>
                </a:lnTo>
                <a:lnTo>
                  <a:pt x="11905645" y="1447132"/>
                </a:lnTo>
                <a:lnTo>
                  <a:pt x="12191976" y="1160803"/>
                </a:lnTo>
                <a:lnTo>
                  <a:pt x="12191976" y="1213046"/>
                </a:lnTo>
                <a:lnTo>
                  <a:pt x="11928074" y="1476947"/>
                </a:lnTo>
                <a:lnTo>
                  <a:pt x="11928074" y="1534702"/>
                </a:lnTo>
                <a:lnTo>
                  <a:pt x="12191975" y="1798604"/>
                </a:lnTo>
                <a:lnTo>
                  <a:pt x="12191975" y="1850847"/>
                </a:lnTo>
                <a:lnTo>
                  <a:pt x="11899087" y="1557957"/>
                </a:lnTo>
                <a:lnTo>
                  <a:pt x="11847063" y="1557957"/>
                </a:lnTo>
                <a:lnTo>
                  <a:pt x="11373858" y="2031163"/>
                </a:lnTo>
                <a:lnTo>
                  <a:pt x="11842778" y="2500070"/>
                </a:lnTo>
                <a:lnTo>
                  <a:pt x="11903378" y="2500070"/>
                </a:lnTo>
                <a:lnTo>
                  <a:pt x="12191975" y="2211473"/>
                </a:lnTo>
                <a:lnTo>
                  <a:pt x="12191974" y="2263716"/>
                </a:lnTo>
                <a:lnTo>
                  <a:pt x="11928074" y="2527616"/>
                </a:lnTo>
                <a:lnTo>
                  <a:pt x="11928074" y="2585366"/>
                </a:lnTo>
                <a:lnTo>
                  <a:pt x="12191978" y="2849270"/>
                </a:lnTo>
                <a:lnTo>
                  <a:pt x="12191977" y="2901515"/>
                </a:lnTo>
                <a:lnTo>
                  <a:pt x="11901357" y="2610895"/>
                </a:lnTo>
                <a:lnTo>
                  <a:pt x="11844795" y="2610895"/>
                </a:lnTo>
                <a:lnTo>
                  <a:pt x="11373856" y="3081835"/>
                </a:lnTo>
                <a:lnTo>
                  <a:pt x="11843230" y="3551209"/>
                </a:lnTo>
                <a:lnTo>
                  <a:pt x="11902922" y="3551209"/>
                </a:lnTo>
                <a:lnTo>
                  <a:pt x="12191974" y="3262156"/>
                </a:lnTo>
                <a:lnTo>
                  <a:pt x="12191974" y="3314400"/>
                </a:lnTo>
                <a:lnTo>
                  <a:pt x="11928074" y="3578299"/>
                </a:lnTo>
                <a:lnTo>
                  <a:pt x="11928074" y="3636053"/>
                </a:lnTo>
                <a:lnTo>
                  <a:pt x="12191975" y="3899954"/>
                </a:lnTo>
                <a:lnTo>
                  <a:pt x="12191975" y="3952198"/>
                </a:lnTo>
                <a:lnTo>
                  <a:pt x="11901811" y="3662034"/>
                </a:lnTo>
                <a:lnTo>
                  <a:pt x="11844339" y="3662034"/>
                </a:lnTo>
                <a:lnTo>
                  <a:pt x="11373856" y="4132518"/>
                </a:lnTo>
                <a:lnTo>
                  <a:pt x="11813331" y="4571992"/>
                </a:lnTo>
                <a:lnTo>
                  <a:pt x="11761089" y="4571991"/>
                </a:lnTo>
                <a:lnTo>
                  <a:pt x="11347736" y="4158638"/>
                </a:lnTo>
                <a:lnTo>
                  <a:pt x="10934382" y="4571992"/>
                </a:lnTo>
                <a:lnTo>
                  <a:pt x="10882138" y="4571992"/>
                </a:lnTo>
                <a:lnTo>
                  <a:pt x="11321614" y="4132516"/>
                </a:lnTo>
                <a:lnTo>
                  <a:pt x="10851132" y="3662034"/>
                </a:lnTo>
                <a:lnTo>
                  <a:pt x="10793656" y="3662034"/>
                </a:lnTo>
                <a:lnTo>
                  <a:pt x="10323175" y="4132515"/>
                </a:lnTo>
                <a:lnTo>
                  <a:pt x="10762651" y="4571991"/>
                </a:lnTo>
                <a:lnTo>
                  <a:pt x="10710406" y="4571992"/>
                </a:lnTo>
                <a:lnTo>
                  <a:pt x="10297052" y="4158638"/>
                </a:lnTo>
                <a:lnTo>
                  <a:pt x="9883699" y="4571992"/>
                </a:lnTo>
                <a:lnTo>
                  <a:pt x="9831456" y="4571992"/>
                </a:lnTo>
                <a:lnTo>
                  <a:pt x="10270931" y="4132517"/>
                </a:lnTo>
                <a:lnTo>
                  <a:pt x="9800448" y="3662034"/>
                </a:lnTo>
                <a:lnTo>
                  <a:pt x="9742974" y="3662034"/>
                </a:lnTo>
                <a:lnTo>
                  <a:pt x="9272491" y="4132517"/>
                </a:lnTo>
                <a:lnTo>
                  <a:pt x="9711968" y="4571993"/>
                </a:lnTo>
                <a:lnTo>
                  <a:pt x="9659723" y="4571993"/>
                </a:lnTo>
                <a:lnTo>
                  <a:pt x="9246369" y="4158639"/>
                </a:lnTo>
                <a:lnTo>
                  <a:pt x="8833016" y="4571992"/>
                </a:lnTo>
                <a:lnTo>
                  <a:pt x="8780772" y="4571992"/>
                </a:lnTo>
                <a:lnTo>
                  <a:pt x="9220247" y="4132517"/>
                </a:lnTo>
                <a:lnTo>
                  <a:pt x="8749764" y="3662034"/>
                </a:lnTo>
                <a:lnTo>
                  <a:pt x="8692294" y="3662034"/>
                </a:lnTo>
                <a:lnTo>
                  <a:pt x="8221812" y="4132516"/>
                </a:lnTo>
                <a:lnTo>
                  <a:pt x="8661288" y="4571992"/>
                </a:lnTo>
                <a:lnTo>
                  <a:pt x="8609042" y="4571992"/>
                </a:lnTo>
                <a:lnTo>
                  <a:pt x="8195689" y="4158639"/>
                </a:lnTo>
                <a:lnTo>
                  <a:pt x="7782334" y="4571994"/>
                </a:lnTo>
                <a:lnTo>
                  <a:pt x="7730092" y="4571994"/>
                </a:lnTo>
                <a:lnTo>
                  <a:pt x="8169568" y="4132518"/>
                </a:lnTo>
                <a:lnTo>
                  <a:pt x="7699085" y="3662034"/>
                </a:lnTo>
                <a:lnTo>
                  <a:pt x="7641614" y="3662034"/>
                </a:lnTo>
                <a:lnTo>
                  <a:pt x="7171129" y="4132518"/>
                </a:lnTo>
                <a:lnTo>
                  <a:pt x="7610604" y="4571993"/>
                </a:lnTo>
                <a:lnTo>
                  <a:pt x="7558360" y="4571993"/>
                </a:lnTo>
                <a:lnTo>
                  <a:pt x="7145007" y="4158640"/>
                </a:lnTo>
                <a:lnTo>
                  <a:pt x="6731655" y="4571993"/>
                </a:lnTo>
                <a:lnTo>
                  <a:pt x="6679410" y="4571993"/>
                </a:lnTo>
                <a:lnTo>
                  <a:pt x="7118885" y="4132518"/>
                </a:lnTo>
                <a:lnTo>
                  <a:pt x="6648402" y="3662034"/>
                </a:lnTo>
                <a:lnTo>
                  <a:pt x="6590932" y="3662034"/>
                </a:lnTo>
                <a:lnTo>
                  <a:pt x="6120448" y="4132519"/>
                </a:lnTo>
                <a:lnTo>
                  <a:pt x="6559922" y="4571993"/>
                </a:lnTo>
                <a:lnTo>
                  <a:pt x="6507678" y="4571993"/>
                </a:lnTo>
                <a:lnTo>
                  <a:pt x="6094326" y="4158641"/>
                </a:lnTo>
                <a:lnTo>
                  <a:pt x="5680985" y="4571992"/>
                </a:lnTo>
                <a:lnTo>
                  <a:pt x="5628744" y="4571992"/>
                </a:lnTo>
                <a:lnTo>
                  <a:pt x="6068205" y="4132519"/>
                </a:lnTo>
                <a:lnTo>
                  <a:pt x="5597731" y="3662034"/>
                </a:lnTo>
                <a:lnTo>
                  <a:pt x="5540263" y="3662034"/>
                </a:lnTo>
                <a:lnTo>
                  <a:pt x="5069789" y="4132518"/>
                </a:lnTo>
                <a:lnTo>
                  <a:pt x="5509253" y="4571993"/>
                </a:lnTo>
                <a:lnTo>
                  <a:pt x="5457012" y="4571993"/>
                </a:lnTo>
                <a:lnTo>
                  <a:pt x="5043664" y="4158640"/>
                </a:lnTo>
                <a:lnTo>
                  <a:pt x="4630303" y="4571992"/>
                </a:lnTo>
                <a:lnTo>
                  <a:pt x="4578059" y="4571992"/>
                </a:lnTo>
                <a:lnTo>
                  <a:pt x="5017539" y="4132518"/>
                </a:lnTo>
                <a:lnTo>
                  <a:pt x="4547049" y="3662034"/>
                </a:lnTo>
                <a:lnTo>
                  <a:pt x="4489581" y="3662034"/>
                </a:lnTo>
                <a:lnTo>
                  <a:pt x="4019108" y="4132519"/>
                </a:lnTo>
                <a:lnTo>
                  <a:pt x="4458568" y="4571993"/>
                </a:lnTo>
                <a:lnTo>
                  <a:pt x="4406323" y="4571993"/>
                </a:lnTo>
                <a:lnTo>
                  <a:pt x="3992985" y="4158641"/>
                </a:lnTo>
                <a:lnTo>
                  <a:pt x="3579645" y="4571992"/>
                </a:lnTo>
                <a:lnTo>
                  <a:pt x="3527403" y="4571992"/>
                </a:lnTo>
                <a:lnTo>
                  <a:pt x="3966864" y="4132520"/>
                </a:lnTo>
                <a:lnTo>
                  <a:pt x="3496388" y="3662034"/>
                </a:lnTo>
                <a:lnTo>
                  <a:pt x="3438920" y="3662034"/>
                </a:lnTo>
                <a:lnTo>
                  <a:pt x="2968432" y="4132519"/>
                </a:lnTo>
                <a:lnTo>
                  <a:pt x="3407908" y="4571992"/>
                </a:lnTo>
                <a:lnTo>
                  <a:pt x="3355663" y="4571992"/>
                </a:lnTo>
                <a:lnTo>
                  <a:pt x="2942311" y="4158641"/>
                </a:lnTo>
                <a:lnTo>
                  <a:pt x="2528961" y="4571991"/>
                </a:lnTo>
                <a:lnTo>
                  <a:pt x="2476717" y="4571991"/>
                </a:lnTo>
                <a:lnTo>
                  <a:pt x="2916189" y="4132519"/>
                </a:lnTo>
                <a:lnTo>
                  <a:pt x="2445706" y="3662034"/>
                </a:lnTo>
                <a:lnTo>
                  <a:pt x="2388237" y="3662034"/>
                </a:lnTo>
                <a:lnTo>
                  <a:pt x="1917745" y="4132520"/>
                </a:lnTo>
                <a:lnTo>
                  <a:pt x="2357225" y="4571992"/>
                </a:lnTo>
                <a:lnTo>
                  <a:pt x="2304981" y="4571993"/>
                </a:lnTo>
                <a:lnTo>
                  <a:pt x="1891623" y="4158642"/>
                </a:lnTo>
                <a:lnTo>
                  <a:pt x="1478275" y="4571991"/>
                </a:lnTo>
                <a:lnTo>
                  <a:pt x="1426031" y="4571991"/>
                </a:lnTo>
                <a:lnTo>
                  <a:pt x="1865501" y="4132520"/>
                </a:lnTo>
                <a:lnTo>
                  <a:pt x="1395017" y="3662034"/>
                </a:lnTo>
                <a:lnTo>
                  <a:pt x="1337551" y="3662034"/>
                </a:lnTo>
                <a:lnTo>
                  <a:pt x="867066" y="4132521"/>
                </a:lnTo>
                <a:lnTo>
                  <a:pt x="1306536" y="4571992"/>
                </a:lnTo>
                <a:lnTo>
                  <a:pt x="1254292" y="4571992"/>
                </a:lnTo>
                <a:lnTo>
                  <a:pt x="840944" y="4158643"/>
                </a:lnTo>
                <a:lnTo>
                  <a:pt x="427595" y="4571993"/>
                </a:lnTo>
                <a:lnTo>
                  <a:pt x="375351" y="4571993"/>
                </a:lnTo>
                <a:lnTo>
                  <a:pt x="814822" y="4132521"/>
                </a:lnTo>
                <a:lnTo>
                  <a:pt x="344336" y="3662034"/>
                </a:lnTo>
                <a:lnTo>
                  <a:pt x="286870" y="3662034"/>
                </a:lnTo>
                <a:lnTo>
                  <a:pt x="5" y="3948900"/>
                </a:lnTo>
                <a:lnTo>
                  <a:pt x="5" y="3896656"/>
                </a:lnTo>
                <a:lnTo>
                  <a:pt x="258369" y="3638291"/>
                </a:lnTo>
                <a:lnTo>
                  <a:pt x="258369" y="3576066"/>
                </a:lnTo>
                <a:lnTo>
                  <a:pt x="1" y="3317698"/>
                </a:lnTo>
                <a:lnTo>
                  <a:pt x="1" y="3265454"/>
                </a:lnTo>
                <a:lnTo>
                  <a:pt x="285756" y="3551209"/>
                </a:lnTo>
                <a:lnTo>
                  <a:pt x="345451" y="3551209"/>
                </a:lnTo>
                <a:lnTo>
                  <a:pt x="814822" y="3081838"/>
                </a:lnTo>
                <a:lnTo>
                  <a:pt x="343880" y="2610895"/>
                </a:lnTo>
                <a:lnTo>
                  <a:pt x="287328" y="2610895"/>
                </a:lnTo>
                <a:lnTo>
                  <a:pt x="6" y="2898217"/>
                </a:lnTo>
                <a:lnTo>
                  <a:pt x="6" y="2845973"/>
                </a:lnTo>
                <a:lnTo>
                  <a:pt x="258373" y="2587605"/>
                </a:lnTo>
                <a:lnTo>
                  <a:pt x="258373" y="2525388"/>
                </a:lnTo>
                <a:lnTo>
                  <a:pt x="1" y="2267015"/>
                </a:lnTo>
                <a:lnTo>
                  <a:pt x="0" y="2214770"/>
                </a:lnTo>
                <a:lnTo>
                  <a:pt x="285299" y="2500070"/>
                </a:lnTo>
                <a:lnTo>
                  <a:pt x="345909" y="2500070"/>
                </a:lnTo>
                <a:lnTo>
                  <a:pt x="814822" y="2031167"/>
                </a:lnTo>
                <a:lnTo>
                  <a:pt x="341616" y="1557959"/>
                </a:lnTo>
                <a:lnTo>
                  <a:pt x="289593" y="1557959"/>
                </a:lnTo>
                <a:lnTo>
                  <a:pt x="4" y="1847551"/>
                </a:lnTo>
                <a:lnTo>
                  <a:pt x="4" y="1795307"/>
                </a:lnTo>
                <a:lnTo>
                  <a:pt x="258377" y="1536932"/>
                </a:lnTo>
                <a:lnTo>
                  <a:pt x="258377" y="1474721"/>
                </a:lnTo>
                <a:lnTo>
                  <a:pt x="2" y="1216345"/>
                </a:lnTo>
                <a:lnTo>
                  <a:pt x="2" y="1164102"/>
                </a:lnTo>
                <a:lnTo>
                  <a:pt x="283034" y="1447135"/>
                </a:lnTo>
                <a:lnTo>
                  <a:pt x="348175" y="1447135"/>
                </a:lnTo>
                <a:lnTo>
                  <a:pt x="814821" y="980486"/>
                </a:lnTo>
                <a:lnTo>
                  <a:pt x="344401" y="510062"/>
                </a:lnTo>
                <a:lnTo>
                  <a:pt x="286805" y="510062"/>
                </a:lnTo>
                <a:lnTo>
                  <a:pt x="5" y="796868"/>
                </a:lnTo>
                <a:lnTo>
                  <a:pt x="5" y="744628"/>
                </a:lnTo>
                <a:lnTo>
                  <a:pt x="258382" y="486242"/>
                </a:lnTo>
                <a:lnTo>
                  <a:pt x="258382" y="424043"/>
                </a:lnTo>
                <a:lnTo>
                  <a:pt x="3" y="165664"/>
                </a:lnTo>
                <a:lnTo>
                  <a:pt x="3" y="113420"/>
                </a:lnTo>
                <a:lnTo>
                  <a:pt x="285820" y="399237"/>
                </a:lnTo>
                <a:lnTo>
                  <a:pt x="345386" y="399237"/>
                </a:lnTo>
                <a:lnTo>
                  <a:pt x="744622" y="2"/>
                </a:lnTo>
                <a:lnTo>
                  <a:pt x="796865" y="2"/>
                </a:lnTo>
                <a:lnTo>
                  <a:pt x="369206" y="427661"/>
                </a:lnTo>
                <a:lnTo>
                  <a:pt x="369206" y="482624"/>
                </a:lnTo>
                <a:lnTo>
                  <a:pt x="840943" y="954364"/>
                </a:lnTo>
                <a:lnTo>
                  <a:pt x="1309187" y="486116"/>
                </a:lnTo>
                <a:lnTo>
                  <a:pt x="1309187" y="424169"/>
                </a:lnTo>
                <a:lnTo>
                  <a:pt x="885019" y="0"/>
                </a:lnTo>
                <a:lnTo>
                  <a:pt x="937262" y="0"/>
                </a:lnTo>
                <a:lnTo>
                  <a:pt x="1336499" y="399237"/>
                </a:lnTo>
                <a:lnTo>
                  <a:pt x="1396066" y="399237"/>
                </a:lnTo>
                <a:lnTo>
                  <a:pt x="1795300" y="3"/>
                </a:lnTo>
                <a:lnTo>
                  <a:pt x="1847544" y="3"/>
                </a:lnTo>
                <a:lnTo>
                  <a:pt x="1420012" y="427535"/>
                </a:lnTo>
                <a:lnTo>
                  <a:pt x="1420012" y="482750"/>
                </a:lnTo>
                <a:lnTo>
                  <a:pt x="1891623" y="954365"/>
                </a:lnTo>
                <a:lnTo>
                  <a:pt x="2360001" y="485992"/>
                </a:lnTo>
                <a:lnTo>
                  <a:pt x="2360001" y="424295"/>
                </a:lnTo>
                <a:lnTo>
                  <a:pt x="1935698" y="0"/>
                </a:lnTo>
                <a:lnTo>
                  <a:pt x="1987943" y="0"/>
                </a:lnTo>
                <a:lnTo>
                  <a:pt x="2387187" y="399237"/>
                </a:lnTo>
                <a:lnTo>
                  <a:pt x="2446755" y="399237"/>
                </a:lnTo>
                <a:lnTo>
                  <a:pt x="2845991" y="2"/>
                </a:lnTo>
                <a:lnTo>
                  <a:pt x="2898236" y="2"/>
                </a:lnTo>
                <a:lnTo>
                  <a:pt x="2470825" y="427411"/>
                </a:lnTo>
                <a:lnTo>
                  <a:pt x="2470825" y="482875"/>
                </a:lnTo>
                <a:lnTo>
                  <a:pt x="2942310" y="954365"/>
                </a:lnTo>
                <a:lnTo>
                  <a:pt x="3410809" y="485866"/>
                </a:lnTo>
                <a:lnTo>
                  <a:pt x="3410809" y="424419"/>
                </a:lnTo>
                <a:lnTo>
                  <a:pt x="2986386" y="0"/>
                </a:lnTo>
                <a:lnTo>
                  <a:pt x="3038626" y="0"/>
                </a:lnTo>
                <a:lnTo>
                  <a:pt x="3437870" y="399237"/>
                </a:lnTo>
                <a:lnTo>
                  <a:pt x="3497441" y="399237"/>
                </a:lnTo>
                <a:lnTo>
                  <a:pt x="3896667" y="2"/>
                </a:lnTo>
                <a:lnTo>
                  <a:pt x="3948913" y="2"/>
                </a:lnTo>
                <a:lnTo>
                  <a:pt x="3521637" y="427285"/>
                </a:lnTo>
                <a:lnTo>
                  <a:pt x="3521637" y="483001"/>
                </a:lnTo>
                <a:lnTo>
                  <a:pt x="3992987" y="954364"/>
                </a:lnTo>
                <a:lnTo>
                  <a:pt x="4461599" y="485738"/>
                </a:lnTo>
                <a:lnTo>
                  <a:pt x="4461599" y="424543"/>
                </a:lnTo>
                <a:lnTo>
                  <a:pt x="4037068" y="1"/>
                </a:lnTo>
                <a:lnTo>
                  <a:pt x="4089312" y="1"/>
                </a:lnTo>
                <a:lnTo>
                  <a:pt x="4488534" y="399237"/>
                </a:lnTo>
                <a:lnTo>
                  <a:pt x="4548100" y="399237"/>
                </a:lnTo>
                <a:lnTo>
                  <a:pt x="4947332" y="4"/>
                </a:lnTo>
                <a:lnTo>
                  <a:pt x="4999581" y="4"/>
                </a:lnTo>
                <a:lnTo>
                  <a:pt x="4572422" y="427156"/>
                </a:lnTo>
                <a:lnTo>
                  <a:pt x="4572422" y="483126"/>
                </a:lnTo>
                <a:lnTo>
                  <a:pt x="5043667" y="954362"/>
                </a:lnTo>
                <a:lnTo>
                  <a:pt x="5512409" y="485609"/>
                </a:lnTo>
                <a:lnTo>
                  <a:pt x="5512409" y="424674"/>
                </a:lnTo>
                <a:lnTo>
                  <a:pt x="5087742" y="1"/>
                </a:lnTo>
                <a:lnTo>
                  <a:pt x="5139977" y="1"/>
                </a:lnTo>
                <a:lnTo>
                  <a:pt x="5539215" y="399237"/>
                </a:lnTo>
                <a:lnTo>
                  <a:pt x="5598781" y="399237"/>
                </a:lnTo>
                <a:lnTo>
                  <a:pt x="5998007" y="2"/>
                </a:lnTo>
                <a:lnTo>
                  <a:pt x="6050249" y="2"/>
                </a:lnTo>
                <a:lnTo>
                  <a:pt x="5623232" y="427030"/>
                </a:lnTo>
                <a:lnTo>
                  <a:pt x="5623232" y="483255"/>
                </a:lnTo>
                <a:lnTo>
                  <a:pt x="6094326" y="954363"/>
                </a:lnTo>
                <a:lnTo>
                  <a:pt x="6563205" y="485481"/>
                </a:lnTo>
                <a:lnTo>
                  <a:pt x="6563205" y="4247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1015F-7CC6-4D0A-9D87-873EA4C304CC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2841242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8" y="2286000"/>
            <a:ext cx="4754880" cy="402336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6A301-0538-44EC-B09D-202E1042A48B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8" name="Retângulo 7">
            <a:extLst>
              <a:ext uri="{FF2B5EF4-FFF2-40B4-BE49-F238E27FC236}">
                <a16:creationId xmlns="" xmlns:a16="http://schemas.microsoft.com/office/drawing/2014/main" id="{39F28715-89FE-4DCA-8E23-550066DCA922}"/>
              </a:ext>
            </a:extLst>
          </p:cNvPr>
          <p:cNvSpPr/>
          <p:nvPr userDrawn="1"/>
        </p:nvSpPr>
        <p:spPr>
          <a:xfrm>
            <a:off x="10432473" y="6415284"/>
            <a:ext cx="1468582" cy="274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920742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89320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89320" y="2967788"/>
            <a:ext cx="4754880" cy="3341572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9574A-8875-45EF-8EA2-3CAA0F7ABC4C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035335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F4D4C-5367-4C26-9E2B-D8088D7FCA81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819179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1E96-98B0-4413-9547-46F3504108EF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490394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68B11-C5A8-448C-8CE9-B1A273C79CFC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10299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16CA0-919D-4A49-9C8A-62FDFB3A5183}" type="datetimeFigureOut">
              <a:rPr lang="en-US" smtClean="0"/>
              <a:t>4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174742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1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8" y="6470704"/>
            <a:ext cx="2154142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90298CD5-6C1E-4009-B41F-6DF62E31D3BE}" type="datetimeFigureOut">
              <a:rPr lang="en-US" smtClean="0"/>
              <a:pPr/>
              <a:t>4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r>
              <a:rPr lang="en-US" noProof="0"/>
              <a:t>Title of Presentation| DD.MM.YYYY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4" y="6470704"/>
            <a:ext cx="973666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FD5E7EB4-4CDF-47BB-AF16-07782904B863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36">
            <a:extLst>
              <a:ext uri="{FF2B5EF4-FFF2-40B4-BE49-F238E27FC236}">
                <a16:creationId xmlns="" xmlns:a16="http://schemas.microsoft.com/office/drawing/2014/main" id="{4386BD46-B6F8-406A-9799-66187D02B00D}"/>
              </a:ext>
            </a:extLst>
          </p:cNvPr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37">
            <a:extLst>
              <a:ext uri="{FF2B5EF4-FFF2-40B4-BE49-F238E27FC236}">
                <a16:creationId xmlns="" xmlns:a16="http://schemas.microsoft.com/office/drawing/2014/main" id="{8ED7062C-2485-4489-8E51-C35CCC278BE2}"/>
              </a:ext>
            </a:extLst>
          </p:cNvPr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36">
            <a:extLst>
              <a:ext uri="{FF2B5EF4-FFF2-40B4-BE49-F238E27FC236}">
                <a16:creationId xmlns="" xmlns:a16="http://schemas.microsoft.com/office/drawing/2014/main" id="{BD0464A5-31E0-436C-A971-C9B9FFEB403E}"/>
              </a:ext>
            </a:extLst>
          </p:cNvPr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37">
            <a:extLst>
              <a:ext uri="{FF2B5EF4-FFF2-40B4-BE49-F238E27FC236}">
                <a16:creationId xmlns="" xmlns:a16="http://schemas.microsoft.com/office/drawing/2014/main" id="{2F372C22-81AF-4035-9EED-19ABAA2B8C71}"/>
              </a:ext>
            </a:extLst>
          </p:cNvPr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36">
            <a:extLst>
              <a:ext uri="{FF2B5EF4-FFF2-40B4-BE49-F238E27FC236}">
                <a16:creationId xmlns="" xmlns:a16="http://schemas.microsoft.com/office/drawing/2014/main" id="{1251A30B-E3F4-435E-8019-78A67A7EC6B9}"/>
              </a:ext>
            </a:extLst>
          </p:cNvPr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37">
            <a:extLst>
              <a:ext uri="{FF2B5EF4-FFF2-40B4-BE49-F238E27FC236}">
                <a16:creationId xmlns="" xmlns:a16="http://schemas.microsoft.com/office/drawing/2014/main" id="{133DB37C-C5F4-41ED-928D-3B7877CEFFA1}"/>
              </a:ext>
            </a:extLst>
          </p:cNvPr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36">
            <a:extLst>
              <a:ext uri="{FF2B5EF4-FFF2-40B4-BE49-F238E27FC236}">
                <a16:creationId xmlns="" xmlns:a16="http://schemas.microsoft.com/office/drawing/2014/main" id="{8FE7D7C6-DD3C-40E9-92E0-F0BEB53D6017}"/>
              </a:ext>
            </a:extLst>
          </p:cNvPr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>
            <a:extLst>
              <a:ext uri="{FF2B5EF4-FFF2-40B4-BE49-F238E27FC236}">
                <a16:creationId xmlns="" xmlns:a16="http://schemas.microsoft.com/office/drawing/2014/main" id="{F21221CF-4EDA-4DE8-8BD2-ECF8D8142E37}"/>
              </a:ext>
            </a:extLst>
          </p:cNvPr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>
            <a:extLst>
              <a:ext uri="{FF2B5EF4-FFF2-40B4-BE49-F238E27FC236}">
                <a16:creationId xmlns="" xmlns:a16="http://schemas.microsoft.com/office/drawing/2014/main" id="{FB34A2D9-C5CE-4A44-8E9B-AC9CAB3D40E9}"/>
              </a:ext>
            </a:extLst>
          </p:cNvPr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>
            <a:extLst>
              <a:ext uri="{FF2B5EF4-FFF2-40B4-BE49-F238E27FC236}">
                <a16:creationId xmlns="" xmlns:a16="http://schemas.microsoft.com/office/drawing/2014/main" id="{30B7FC7C-59E6-443B-8FC7-C846B4511568}"/>
              </a:ext>
            </a:extLst>
          </p:cNvPr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>
            <a:extLst>
              <a:ext uri="{FF2B5EF4-FFF2-40B4-BE49-F238E27FC236}">
                <a16:creationId xmlns="" xmlns:a16="http://schemas.microsoft.com/office/drawing/2014/main" id="{E3EDF5D2-448A-4D25-B8F0-705FAAF1F71E}"/>
              </a:ext>
            </a:extLst>
          </p:cNvPr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>
            <a:extLst>
              <a:ext uri="{FF2B5EF4-FFF2-40B4-BE49-F238E27FC236}">
                <a16:creationId xmlns="" xmlns:a16="http://schemas.microsoft.com/office/drawing/2014/main" id="{F8F58270-F711-43EF-BE7B-727C9472B4B0}"/>
              </a:ext>
            </a:extLst>
          </p:cNvPr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>
            <a:extLst>
              <a:ext uri="{FF2B5EF4-FFF2-40B4-BE49-F238E27FC236}">
                <a16:creationId xmlns="" xmlns:a16="http://schemas.microsoft.com/office/drawing/2014/main" id="{C5E4CCDB-1E63-4435-A80E-F92F93DF78E8}"/>
              </a:ext>
            </a:extLst>
          </p:cNvPr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>
            <a:extLst>
              <a:ext uri="{FF2B5EF4-FFF2-40B4-BE49-F238E27FC236}">
                <a16:creationId xmlns="" xmlns:a16="http://schemas.microsoft.com/office/drawing/2014/main" id="{DBE641DA-F16A-4FB1-8FD9-B82FE7629EE1}"/>
              </a:ext>
            </a:extLst>
          </p:cNvPr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>
            <a:extLst>
              <a:ext uri="{FF2B5EF4-FFF2-40B4-BE49-F238E27FC236}">
                <a16:creationId xmlns="" xmlns:a16="http://schemas.microsoft.com/office/drawing/2014/main" id="{81404600-6491-4144-A717-728E9F888E8C}"/>
              </a:ext>
            </a:extLst>
          </p:cNvPr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>
            <a:extLst>
              <a:ext uri="{FF2B5EF4-FFF2-40B4-BE49-F238E27FC236}">
                <a16:creationId xmlns="" xmlns:a16="http://schemas.microsoft.com/office/drawing/2014/main" id="{5EA497E9-4F02-452A-BA11-31C6CA8400B8}"/>
              </a:ext>
            </a:extLst>
          </p:cNvPr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>
            <a:extLst>
              <a:ext uri="{FF2B5EF4-FFF2-40B4-BE49-F238E27FC236}">
                <a16:creationId xmlns="" xmlns:a16="http://schemas.microsoft.com/office/drawing/2014/main" id="{515DA8A1-FD0B-4A0C-AA64-29E26F890BBA}"/>
              </a:ext>
            </a:extLst>
          </p:cNvPr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>
            <a:extLst>
              <a:ext uri="{FF2B5EF4-FFF2-40B4-BE49-F238E27FC236}">
                <a16:creationId xmlns="" xmlns:a16="http://schemas.microsoft.com/office/drawing/2014/main" id="{ED002471-8842-4891-83AE-3EFA82B1F001}"/>
              </a:ext>
            </a:extLst>
          </p:cNvPr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>
            <a:extLst>
              <a:ext uri="{FF2B5EF4-FFF2-40B4-BE49-F238E27FC236}">
                <a16:creationId xmlns="" xmlns:a16="http://schemas.microsoft.com/office/drawing/2014/main" id="{DF3F1629-F346-4719-B5AE-FDE67528C70F}"/>
              </a:ext>
            </a:extLst>
          </p:cNvPr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>
            <a:extLst>
              <a:ext uri="{FF2B5EF4-FFF2-40B4-BE49-F238E27FC236}">
                <a16:creationId xmlns="" xmlns:a16="http://schemas.microsoft.com/office/drawing/2014/main" id="{1EE8679C-2342-4AE6-B496-9719FA837172}"/>
              </a:ext>
            </a:extLst>
          </p:cNvPr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>
            <a:extLst>
              <a:ext uri="{FF2B5EF4-FFF2-40B4-BE49-F238E27FC236}">
                <a16:creationId xmlns="" xmlns:a16="http://schemas.microsoft.com/office/drawing/2014/main" id="{6F3E94DC-D9EA-4885-B19C-ED41A8B33B60}"/>
              </a:ext>
            </a:extLst>
          </p:cNvPr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>
            <a:extLst>
              <a:ext uri="{FF2B5EF4-FFF2-40B4-BE49-F238E27FC236}">
                <a16:creationId xmlns="" xmlns:a16="http://schemas.microsoft.com/office/drawing/2014/main" id="{50935665-8B53-4618-AA93-395630E949B4}"/>
              </a:ext>
            </a:extLst>
          </p:cNvPr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>
            <a:extLst>
              <a:ext uri="{FF2B5EF4-FFF2-40B4-BE49-F238E27FC236}">
                <a16:creationId xmlns="" xmlns:a16="http://schemas.microsoft.com/office/drawing/2014/main" id="{27096583-5195-402A-BF01-8F7EF3CCDA5C}"/>
              </a:ext>
            </a:extLst>
          </p:cNvPr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>
            <a:extLst>
              <a:ext uri="{FF2B5EF4-FFF2-40B4-BE49-F238E27FC236}">
                <a16:creationId xmlns="" xmlns:a16="http://schemas.microsoft.com/office/drawing/2014/main" id="{5E2B1A61-6E72-406D-9320-A13E307D3840}"/>
              </a:ext>
            </a:extLst>
          </p:cNvPr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>
            <a:extLst>
              <a:ext uri="{FF2B5EF4-FFF2-40B4-BE49-F238E27FC236}">
                <a16:creationId xmlns="" xmlns:a16="http://schemas.microsoft.com/office/drawing/2014/main" id="{32770463-0907-4CCF-B5BC-028DA47FAA59}"/>
              </a:ext>
            </a:extLst>
          </p:cNvPr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>
            <a:extLst>
              <a:ext uri="{FF2B5EF4-FFF2-40B4-BE49-F238E27FC236}">
                <a16:creationId xmlns="" xmlns:a16="http://schemas.microsoft.com/office/drawing/2014/main" id="{79AD1973-1095-4149-BF27-175B73146B13}"/>
              </a:ext>
            </a:extLst>
          </p:cNvPr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>
            <a:extLst>
              <a:ext uri="{FF2B5EF4-FFF2-40B4-BE49-F238E27FC236}">
                <a16:creationId xmlns="" xmlns:a16="http://schemas.microsoft.com/office/drawing/2014/main" id="{43AFE131-BC14-4565-9702-4E26A5A91B12}"/>
              </a:ext>
            </a:extLst>
          </p:cNvPr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>
            <a:extLst>
              <a:ext uri="{FF2B5EF4-FFF2-40B4-BE49-F238E27FC236}">
                <a16:creationId xmlns="" xmlns:a16="http://schemas.microsoft.com/office/drawing/2014/main" id="{497936B5-2E77-45E3-A458-2D240FDB0921}"/>
              </a:ext>
            </a:extLst>
          </p:cNvPr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>
            <a:extLst>
              <a:ext uri="{FF2B5EF4-FFF2-40B4-BE49-F238E27FC236}">
                <a16:creationId xmlns="" xmlns:a16="http://schemas.microsoft.com/office/drawing/2014/main" id="{D9AB8585-6DD1-4C06-869C-CB412EE45F59}"/>
              </a:ext>
            </a:extLst>
          </p:cNvPr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>
            <a:extLst>
              <a:ext uri="{FF2B5EF4-FFF2-40B4-BE49-F238E27FC236}">
                <a16:creationId xmlns="" xmlns:a16="http://schemas.microsoft.com/office/drawing/2014/main" id="{FA231D9B-22EE-4482-B8C6-24DF05C1D795}"/>
              </a:ext>
            </a:extLst>
          </p:cNvPr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>
            <a:extLst>
              <a:ext uri="{FF2B5EF4-FFF2-40B4-BE49-F238E27FC236}">
                <a16:creationId xmlns="" xmlns:a16="http://schemas.microsoft.com/office/drawing/2014/main" id="{37071FB9-232C-493F-82A9-12DCCF9E6958}"/>
              </a:ext>
            </a:extLst>
          </p:cNvPr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>
            <a:extLst>
              <a:ext uri="{FF2B5EF4-FFF2-40B4-BE49-F238E27FC236}">
                <a16:creationId xmlns="" xmlns:a16="http://schemas.microsoft.com/office/drawing/2014/main" id="{A7E4B5F7-AEA6-40AB-839B-B81A0F8E27EC}"/>
              </a:ext>
            </a:extLst>
          </p:cNvPr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>
            <a:extLst>
              <a:ext uri="{FF2B5EF4-FFF2-40B4-BE49-F238E27FC236}">
                <a16:creationId xmlns="" xmlns:a16="http://schemas.microsoft.com/office/drawing/2014/main" id="{652872B6-046E-4A82-BB0F-1845B03942FA}"/>
              </a:ext>
            </a:extLst>
          </p:cNvPr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>
            <a:extLst>
              <a:ext uri="{FF2B5EF4-FFF2-40B4-BE49-F238E27FC236}">
                <a16:creationId xmlns="" xmlns:a16="http://schemas.microsoft.com/office/drawing/2014/main" id="{AC21EAFA-28BB-44AF-ABCA-7E98484A8AF9}"/>
              </a:ext>
            </a:extLst>
          </p:cNvPr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>
            <a:extLst>
              <a:ext uri="{FF2B5EF4-FFF2-40B4-BE49-F238E27FC236}">
                <a16:creationId xmlns="" xmlns:a16="http://schemas.microsoft.com/office/drawing/2014/main" id="{64B60FCC-F9DB-479B-BF81-8ABE865D56CC}"/>
              </a:ext>
            </a:extLst>
          </p:cNvPr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>
            <a:extLst>
              <a:ext uri="{FF2B5EF4-FFF2-40B4-BE49-F238E27FC236}">
                <a16:creationId xmlns="" xmlns:a16="http://schemas.microsoft.com/office/drawing/2014/main" id="{74B0841E-39D1-49D7-86D6-40C77AA054C1}"/>
              </a:ext>
            </a:extLst>
          </p:cNvPr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>
            <a:extLst>
              <a:ext uri="{FF2B5EF4-FFF2-40B4-BE49-F238E27FC236}">
                <a16:creationId xmlns="" xmlns:a16="http://schemas.microsoft.com/office/drawing/2014/main" id="{D4B13012-D156-43E8-88F2-363A1E355626}"/>
              </a:ext>
            </a:extLst>
          </p:cNvPr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>
            <a:extLst>
              <a:ext uri="{FF2B5EF4-FFF2-40B4-BE49-F238E27FC236}">
                <a16:creationId xmlns="" xmlns:a16="http://schemas.microsoft.com/office/drawing/2014/main" id="{596042CB-0168-47F7-A870-F89AAE241E85}"/>
              </a:ext>
            </a:extLst>
          </p:cNvPr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>
            <a:extLst>
              <a:ext uri="{FF2B5EF4-FFF2-40B4-BE49-F238E27FC236}">
                <a16:creationId xmlns="" xmlns:a16="http://schemas.microsoft.com/office/drawing/2014/main" id="{CC6A95A3-FC5D-4EDB-8C02-12DE951D69D9}"/>
              </a:ext>
            </a:extLst>
          </p:cNvPr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>
            <a:extLst>
              <a:ext uri="{FF2B5EF4-FFF2-40B4-BE49-F238E27FC236}">
                <a16:creationId xmlns="" xmlns:a16="http://schemas.microsoft.com/office/drawing/2014/main" id="{A9C973D3-12C9-4FC4-8798-49EEAE7EC6DC}"/>
              </a:ext>
            </a:extLst>
          </p:cNvPr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>
            <a:extLst>
              <a:ext uri="{FF2B5EF4-FFF2-40B4-BE49-F238E27FC236}">
                <a16:creationId xmlns="" xmlns:a16="http://schemas.microsoft.com/office/drawing/2014/main" id="{C00C0191-6DEA-4DFB-8F05-4422D55752F9}"/>
              </a:ext>
            </a:extLst>
          </p:cNvPr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>
            <a:extLst>
              <a:ext uri="{FF2B5EF4-FFF2-40B4-BE49-F238E27FC236}">
                <a16:creationId xmlns="" xmlns:a16="http://schemas.microsoft.com/office/drawing/2014/main" id="{8295C4E1-3D07-424B-87A1-83DF103C7E6A}"/>
              </a:ext>
            </a:extLst>
          </p:cNvPr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>
            <a:extLst>
              <a:ext uri="{FF2B5EF4-FFF2-40B4-BE49-F238E27FC236}">
                <a16:creationId xmlns="" xmlns:a16="http://schemas.microsoft.com/office/drawing/2014/main" id="{4F87E088-C2CB-4516-A4CE-1A3ADFE28F1D}"/>
              </a:ext>
            </a:extLst>
          </p:cNvPr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>
            <a:extLst>
              <a:ext uri="{FF2B5EF4-FFF2-40B4-BE49-F238E27FC236}">
                <a16:creationId xmlns="" xmlns:a16="http://schemas.microsoft.com/office/drawing/2014/main" id="{11DB7056-ACDF-4ABB-BDDA-9029FB556091}"/>
              </a:ext>
            </a:extLst>
          </p:cNvPr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>
            <a:extLst>
              <a:ext uri="{FF2B5EF4-FFF2-40B4-BE49-F238E27FC236}">
                <a16:creationId xmlns="" xmlns:a16="http://schemas.microsoft.com/office/drawing/2014/main" id="{71EAACA7-D8CB-4136-B2F0-4620F379F40A}"/>
              </a:ext>
            </a:extLst>
          </p:cNvPr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>
            <a:extLst>
              <a:ext uri="{FF2B5EF4-FFF2-40B4-BE49-F238E27FC236}">
                <a16:creationId xmlns="" xmlns:a16="http://schemas.microsoft.com/office/drawing/2014/main" id="{7FD5113D-3745-4A83-930A-92D9E7E2971D}"/>
              </a:ext>
            </a:extLst>
          </p:cNvPr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>
            <a:extLst>
              <a:ext uri="{FF2B5EF4-FFF2-40B4-BE49-F238E27FC236}">
                <a16:creationId xmlns="" xmlns:a16="http://schemas.microsoft.com/office/drawing/2014/main" id="{FCFB703A-9EB7-4C77-8FE9-DAC8BD676763}"/>
              </a:ext>
            </a:extLst>
          </p:cNvPr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>
            <a:extLst>
              <a:ext uri="{FF2B5EF4-FFF2-40B4-BE49-F238E27FC236}">
                <a16:creationId xmlns="" xmlns:a16="http://schemas.microsoft.com/office/drawing/2014/main" id="{54156BB6-9538-4F96-840E-C2D6ACCC668F}"/>
              </a:ext>
            </a:extLst>
          </p:cNvPr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61">
            <a:extLst>
              <a:ext uri="{FF2B5EF4-FFF2-40B4-BE49-F238E27FC236}">
                <a16:creationId xmlns="" xmlns:a16="http://schemas.microsoft.com/office/drawing/2014/main" id="{8854F49E-E763-41EA-B27C-B411F24E99A1}"/>
              </a:ext>
            </a:extLst>
          </p:cNvPr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62">
            <a:extLst>
              <a:ext uri="{FF2B5EF4-FFF2-40B4-BE49-F238E27FC236}">
                <a16:creationId xmlns="" xmlns:a16="http://schemas.microsoft.com/office/drawing/2014/main" id="{7749DEA1-F52E-4190-A917-55700DFDFFF0}"/>
              </a:ext>
            </a:extLst>
          </p:cNvPr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64">
            <a:extLst>
              <a:ext uri="{FF2B5EF4-FFF2-40B4-BE49-F238E27FC236}">
                <a16:creationId xmlns="" xmlns:a16="http://schemas.microsoft.com/office/drawing/2014/main" id="{C0E2DD3B-4616-44D2-B8CF-E171992F3320}"/>
              </a:ext>
            </a:extLst>
          </p:cNvPr>
          <p:cNvCxnSpPr/>
          <p:nvPr userDrawn="1"/>
        </p:nvCxnSpPr>
        <p:spPr bwMode="gray">
          <a:xfrm rot="5400000" flipV="1">
            <a:off x="-192704" y="42859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empower - DO NOT DELETE!!!" hidden="1">
            <a:extLst>
              <a:ext uri="{FF2B5EF4-FFF2-40B4-BE49-F238E27FC236}">
                <a16:creationId xmlns="" xmlns:a16="http://schemas.microsoft.com/office/drawing/2014/main" id="{8D67D893-B991-4914-A09B-84DB59A508B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0" name="Logo Merck">
            <a:extLst>
              <a:ext uri="{FF2B5EF4-FFF2-40B4-BE49-F238E27FC236}">
                <a16:creationId xmlns="" xmlns:a16="http://schemas.microsoft.com/office/drawing/2014/main" id="{87BDB5DE-3285-42A7-8B97-39D29193A355}"/>
              </a:ext>
            </a:extLst>
          </p:cNvPr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61" name="Logo K">
              <a:extLst>
                <a:ext uri="{FF2B5EF4-FFF2-40B4-BE49-F238E27FC236}">
                  <a16:creationId xmlns="" xmlns:a16="http://schemas.microsoft.com/office/drawing/2014/main" id="{10DC372C-1F1C-463E-91C9-EF94C6080178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Logo C">
              <a:extLst>
                <a:ext uri="{FF2B5EF4-FFF2-40B4-BE49-F238E27FC236}">
                  <a16:creationId xmlns="" xmlns:a16="http://schemas.microsoft.com/office/drawing/2014/main" id="{7428E9A1-BFB9-4EB7-8941-51D3C3204DD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Logo R">
              <a:extLst>
                <a:ext uri="{FF2B5EF4-FFF2-40B4-BE49-F238E27FC236}">
                  <a16:creationId xmlns="" xmlns:a16="http://schemas.microsoft.com/office/drawing/2014/main" id="{7DD03F7A-F357-4DA2-86E1-A2CED88DA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Logo E">
              <a:extLst>
                <a:ext uri="{FF2B5EF4-FFF2-40B4-BE49-F238E27FC236}">
                  <a16:creationId xmlns="" xmlns:a16="http://schemas.microsoft.com/office/drawing/2014/main" id="{F4729BF3-C1B2-4154-B32A-1847770D6B4C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Logo M">
              <a:extLst>
                <a:ext uri="{FF2B5EF4-FFF2-40B4-BE49-F238E27FC236}">
                  <a16:creationId xmlns="" xmlns:a16="http://schemas.microsoft.com/office/drawing/2014/main" id="{0EF2A721-3E82-40D9-967E-1AE48EC65B58}"/>
                </a:ext>
              </a:extLst>
            </p:cNvPr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5396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661" r:id="rId13"/>
    <p:sldLayoutId id="2147483662" r:id="rId14"/>
    <p:sldLayoutId id="2147483663" r:id="rId15"/>
    <p:sldLayoutId id="2147483664" r:id="rId16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apps.who.int/medicinedocs/pdf/s4882e/s4882e.pdf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199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26725" y="4489828"/>
            <a:ext cx="5246827" cy="2086725"/>
          </a:xfrm>
          <a:solidFill>
            <a:srgbClr val="00B0F0"/>
          </a:solidFill>
          <a:ln>
            <a:noFill/>
          </a:ln>
          <a:extLst/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visão da aula 01</a:t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rmacoepidemiologia</a:t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de estamos?</a:t>
            </a:r>
            <a:endParaRPr lang="pt-BR" sz="3600" b="1" cap="none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902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0864FB24-FBDC-4F8E-865E-F583767F9C7E}"/>
              </a:ext>
            </a:extLst>
          </p:cNvPr>
          <p:cNvSpPr txBox="1">
            <a:spLocks/>
          </p:cNvSpPr>
          <p:nvPr/>
        </p:nvSpPr>
        <p:spPr>
          <a:xfrm>
            <a:off x="508298" y="192855"/>
            <a:ext cx="1063752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="" xmlns:a16="http://schemas.microsoft.com/office/drawing/2014/main" id="{9B4D606A-BEAC-44B4-B575-AE98B9B100D4}"/>
              </a:ext>
            </a:extLst>
          </p:cNvPr>
          <p:cNvGrpSpPr/>
          <p:nvPr/>
        </p:nvGrpSpPr>
        <p:grpSpPr>
          <a:xfrm>
            <a:off x="183350" y="2349305"/>
            <a:ext cx="11825300" cy="2700995"/>
            <a:chOff x="2852737" y="1276668"/>
            <a:chExt cx="6525758" cy="1292220"/>
          </a:xfrm>
        </p:grpSpPr>
        <p:sp>
          <p:nvSpPr>
            <p:cNvPr id="33" name="Caixa de Texto 2">
              <a:extLst>
                <a:ext uri="{FF2B5EF4-FFF2-40B4-BE49-F238E27FC236}">
                  <a16:creationId xmlns="" xmlns:a16="http://schemas.microsoft.com/office/drawing/2014/main" id="{67D49BD8-1A0B-49CE-ABC9-3CE9FA6303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1276668"/>
              <a:ext cx="3809978" cy="307234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ª ETAPA: IDENTIFICAÇÃO DOS PRINCIPAIS PROBLEMAS</a:t>
              </a:r>
              <a:endParaRPr lang="pt-BR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Caixa de Texto 2">
              <a:extLst>
                <a:ext uri="{FF2B5EF4-FFF2-40B4-BE49-F238E27FC236}">
                  <a16:creationId xmlns="" xmlns:a16="http://schemas.microsoft.com/office/drawing/2014/main" id="{151811D1-4E97-4777-88CD-36FA4533D8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01153" y="1643805"/>
              <a:ext cx="3810394" cy="307234"/>
            </a:xfrm>
            <a:prstGeom prst="rect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ª ETAPA: INVESTIGAÇÃO APROFUNDADA DE PROBLEMAS ESPECÍFICOS</a:t>
              </a:r>
              <a:endParaRPr lang="pt-BR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Caixa de Texto 2">
              <a:extLst>
                <a:ext uri="{FF2B5EF4-FFF2-40B4-BE49-F238E27FC236}">
                  <a16:creationId xmlns="" xmlns:a16="http://schemas.microsoft.com/office/drawing/2014/main" id="{78C8B86B-2465-4AA4-9842-02F6B010DB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68101" y="2010941"/>
              <a:ext cx="3810394" cy="557947"/>
            </a:xfrm>
            <a:prstGeom prst="rect">
              <a:avLst/>
            </a:prstGeom>
            <a:solidFill>
              <a:srgbClr val="8064A2">
                <a:lumMod val="7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ª ETAPA: DESENVOLVIMENTO, IMPLEMENTAÇÃO E AVALIAÇÃO DE ESTRATÉGIAS PARA PROMOÇÃO DO USO RACIONAL DE MEDICAMENTOS</a:t>
              </a:r>
              <a:endParaRPr kumimoji="0" lang="pt-BR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3576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0864FB24-FBDC-4F8E-865E-F583767F9C7E}"/>
              </a:ext>
            </a:extLst>
          </p:cNvPr>
          <p:cNvSpPr txBox="1">
            <a:spLocks/>
          </p:cNvSpPr>
          <p:nvPr/>
        </p:nvSpPr>
        <p:spPr>
          <a:xfrm>
            <a:off x="508298" y="192855"/>
            <a:ext cx="1063752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sp>
        <p:nvSpPr>
          <p:cNvPr id="33" name="Caixa de Texto 2">
            <a:extLst>
              <a:ext uri="{FF2B5EF4-FFF2-40B4-BE49-F238E27FC236}">
                <a16:creationId xmlns="" xmlns:a16="http://schemas.microsoft.com/office/drawing/2014/main" id="{67D49BD8-1A0B-49CE-ABC9-3CE9FA6303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0140" y="1055079"/>
            <a:ext cx="11771466" cy="301424"/>
          </a:xfrm>
          <a:prstGeom prst="rect">
            <a:avLst/>
          </a:prstGeom>
          <a:solidFill>
            <a:srgbClr val="FFC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14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ª ETAPA: IDENTIFICAÇÃO DOS PRINCIPAIS PROBLEMAS</a:t>
            </a:r>
            <a:endParaRPr lang="pt-BR" sz="160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="" xmlns:a16="http://schemas.microsoft.com/office/drawing/2014/main" id="{646D1585-E18A-4EE7-8DDE-383D49691E73}"/>
              </a:ext>
            </a:extLst>
          </p:cNvPr>
          <p:cNvSpPr/>
          <p:nvPr/>
        </p:nvSpPr>
        <p:spPr>
          <a:xfrm>
            <a:off x="7955052" y="3258472"/>
            <a:ext cx="3799438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 err="1"/>
              <a:t>Indicadores</a:t>
            </a:r>
            <a:r>
              <a:rPr lang="en-US" dirty="0"/>
              <a:t> de </a:t>
            </a:r>
            <a:r>
              <a:rPr lang="en-US" dirty="0" err="1"/>
              <a:t>prescrição</a:t>
            </a:r>
            <a:endParaRPr lang="en-US" dirty="0"/>
          </a:p>
          <a:p>
            <a:r>
              <a:rPr lang="en-US" dirty="0" err="1"/>
              <a:t>Indicadores</a:t>
            </a:r>
            <a:r>
              <a:rPr lang="en-US" dirty="0"/>
              <a:t> de </a:t>
            </a:r>
            <a:r>
              <a:rPr lang="en-US" dirty="0" err="1"/>
              <a:t>asssistência</a:t>
            </a:r>
            <a:r>
              <a:rPr lang="en-US" dirty="0"/>
              <a:t> </a:t>
            </a:r>
            <a:r>
              <a:rPr lang="en-US" dirty="0" err="1"/>
              <a:t>ao</a:t>
            </a:r>
            <a:r>
              <a:rPr lang="en-US" dirty="0"/>
              <a:t> </a:t>
            </a:r>
            <a:r>
              <a:rPr lang="en-US" dirty="0" err="1"/>
              <a:t>paciente</a:t>
            </a:r>
            <a:endParaRPr lang="en-US" dirty="0"/>
          </a:p>
          <a:p>
            <a:r>
              <a:rPr lang="en-US" dirty="0" err="1"/>
              <a:t>Indicadores</a:t>
            </a:r>
            <a:r>
              <a:rPr lang="en-US" dirty="0"/>
              <a:t> do </a:t>
            </a:r>
            <a:r>
              <a:rPr lang="en-US" dirty="0" err="1"/>
              <a:t>serviço</a:t>
            </a:r>
            <a:r>
              <a:rPr lang="en-US" dirty="0"/>
              <a:t> de </a:t>
            </a:r>
            <a:r>
              <a:rPr lang="en-US" dirty="0" err="1"/>
              <a:t>saúde</a:t>
            </a:r>
            <a:endParaRPr lang="pt-BR" dirty="0"/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EF3D79C6-85A6-45CC-9CB1-6822417E4291}"/>
              </a:ext>
            </a:extLst>
          </p:cNvPr>
          <p:cNvSpPr/>
          <p:nvPr/>
        </p:nvSpPr>
        <p:spPr>
          <a:xfrm>
            <a:off x="200140" y="3268326"/>
            <a:ext cx="7635565" cy="12003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fontAlgn="base"/>
            <a:r>
              <a:rPr lang="pt-BR" dirty="0"/>
              <a:t>Descrição do comportamento dos profissionais de saúde nos serviços</a:t>
            </a:r>
          </a:p>
          <a:p>
            <a:pPr fontAlgn="base"/>
            <a:r>
              <a:rPr lang="pt-BR" dirty="0"/>
              <a:t>Compreensão de hábitos de prescrição</a:t>
            </a:r>
          </a:p>
          <a:p>
            <a:pPr fontAlgn="base"/>
            <a:r>
              <a:rPr lang="pt-BR" dirty="0"/>
              <a:t>Avaliação de aspectos importantes do atendimento ao paciente</a:t>
            </a:r>
          </a:p>
          <a:p>
            <a:pPr fontAlgn="base"/>
            <a:r>
              <a:rPr lang="pt-BR" dirty="0"/>
              <a:t>Avaliação do impacto de intervençõe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="" xmlns:a16="http://schemas.microsoft.com/office/drawing/2014/main" id="{78EAB639-9371-4E60-BC9C-6DC95EF55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5543" y="1398014"/>
            <a:ext cx="1476375" cy="1828800"/>
          </a:xfrm>
          <a:prstGeom prst="rect">
            <a:avLst/>
          </a:prstGeom>
        </p:spPr>
      </p:pic>
      <p:sp>
        <p:nvSpPr>
          <p:cNvPr id="44" name="Caixa de Texto 2">
            <a:extLst>
              <a:ext uri="{FF2B5EF4-FFF2-40B4-BE49-F238E27FC236}">
                <a16:creationId xmlns="" xmlns:a16="http://schemas.microsoft.com/office/drawing/2014/main" id="{21D40530-58BB-472D-BD53-3CB8247AA7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996" y="1442350"/>
            <a:ext cx="5833952" cy="762235"/>
          </a:xfrm>
          <a:prstGeom prst="rect">
            <a:avLst/>
          </a:prstGeom>
          <a:solidFill>
            <a:srgbClr val="FFE48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DORES DO USO DE MEDICAMENTOS</a:t>
            </a:r>
            <a:endParaRPr lang="pt-BR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cadores recomendados pela Organização Mundial da Saúde, coletados pelos serviços de saúde, a nível individual do paciente</a:t>
            </a:r>
            <a:endParaRPr lang="pt-BR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3319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0864FB24-FBDC-4F8E-865E-F583767F9C7E}"/>
              </a:ext>
            </a:extLst>
          </p:cNvPr>
          <p:cNvSpPr txBox="1">
            <a:spLocks/>
          </p:cNvSpPr>
          <p:nvPr/>
        </p:nvSpPr>
        <p:spPr>
          <a:xfrm>
            <a:off x="508298" y="192855"/>
            <a:ext cx="1063752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="" xmlns:a16="http://schemas.microsoft.com/office/drawing/2014/main" id="{9B4D606A-BEAC-44B4-B575-AE98B9B100D4}"/>
              </a:ext>
            </a:extLst>
          </p:cNvPr>
          <p:cNvGrpSpPr/>
          <p:nvPr/>
        </p:nvGrpSpPr>
        <p:grpSpPr>
          <a:xfrm>
            <a:off x="200140" y="1055079"/>
            <a:ext cx="11771466" cy="1149505"/>
            <a:chOff x="2852737" y="1276668"/>
            <a:chExt cx="6496050" cy="904714"/>
          </a:xfrm>
        </p:grpSpPr>
        <p:sp>
          <p:nvSpPr>
            <p:cNvPr id="33" name="Caixa de Texto 2">
              <a:extLst>
                <a:ext uri="{FF2B5EF4-FFF2-40B4-BE49-F238E27FC236}">
                  <a16:creationId xmlns="" xmlns:a16="http://schemas.microsoft.com/office/drawing/2014/main" id="{67D49BD8-1A0B-49CE-ABC9-3CE9FA6303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1276668"/>
              <a:ext cx="6496050" cy="237235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b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ª ETAPA: IDENTIFICAÇÃO DOS PRINCIPAIS PROBLEMAS</a:t>
              </a:r>
              <a:endParaRPr lang="pt-BR" sz="16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Caixa de Texto 2">
              <a:extLst>
                <a:ext uri="{FF2B5EF4-FFF2-40B4-BE49-F238E27FC236}">
                  <a16:creationId xmlns="" xmlns:a16="http://schemas.microsoft.com/office/drawing/2014/main" id="{4BA70101-B3EB-4A6C-BE71-A0368FF1C5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1581468"/>
              <a:ext cx="3257550" cy="599914"/>
            </a:xfrm>
            <a:prstGeom prst="rect">
              <a:avLst/>
            </a:prstGeom>
            <a:solidFill>
              <a:srgbClr val="FFE48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STUDOS QUANTITATIVOS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ornecem uma visão geral do uso de medicamentos, a partir de dados globais de consumo de medicamentos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Retângulo 3">
            <a:extLst>
              <a:ext uri="{FF2B5EF4-FFF2-40B4-BE49-F238E27FC236}">
                <a16:creationId xmlns="" xmlns:a16="http://schemas.microsoft.com/office/drawing/2014/main" id="{646D1585-E18A-4EE7-8DDE-383D49691E73}"/>
              </a:ext>
            </a:extLst>
          </p:cNvPr>
          <p:cNvSpPr/>
          <p:nvPr/>
        </p:nvSpPr>
        <p:spPr>
          <a:xfrm>
            <a:off x="7955052" y="3286608"/>
            <a:ext cx="3738524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dirty="0" err="1"/>
              <a:t>Análise</a:t>
            </a:r>
            <a:r>
              <a:rPr lang="en-US" dirty="0"/>
              <a:t> ABC</a:t>
            </a:r>
          </a:p>
          <a:p>
            <a:r>
              <a:rPr lang="en-US" dirty="0" err="1"/>
              <a:t>Análise</a:t>
            </a:r>
            <a:r>
              <a:rPr lang="en-US" dirty="0"/>
              <a:t> de </a:t>
            </a:r>
            <a:r>
              <a:rPr lang="en-US" dirty="0" err="1"/>
              <a:t>categoria</a:t>
            </a:r>
            <a:r>
              <a:rPr lang="en-US" dirty="0"/>
              <a:t> </a:t>
            </a:r>
            <a:r>
              <a:rPr lang="en-US" dirty="0" err="1"/>
              <a:t>terapêutica</a:t>
            </a:r>
            <a:endParaRPr lang="en-US" dirty="0"/>
          </a:p>
          <a:p>
            <a:r>
              <a:rPr lang="en-US" dirty="0" err="1"/>
              <a:t>Análise</a:t>
            </a:r>
            <a:r>
              <a:rPr lang="en-US" dirty="0"/>
              <a:t> Vital, </a:t>
            </a:r>
            <a:r>
              <a:rPr lang="en-US" dirty="0" err="1"/>
              <a:t>Essencial</a:t>
            </a:r>
            <a:r>
              <a:rPr lang="en-US" dirty="0"/>
              <a:t> e </a:t>
            </a:r>
            <a:r>
              <a:rPr lang="en-US" dirty="0" err="1"/>
              <a:t>Não</a:t>
            </a:r>
            <a:r>
              <a:rPr lang="en-US" dirty="0"/>
              <a:t> </a:t>
            </a:r>
            <a:r>
              <a:rPr lang="en-US" dirty="0" err="1"/>
              <a:t>Essencial</a:t>
            </a:r>
            <a:endParaRPr lang="en-US" dirty="0"/>
          </a:p>
          <a:p>
            <a:r>
              <a:rPr lang="en-US" dirty="0"/>
              <a:t>ATC/DDD</a:t>
            </a:r>
            <a:endParaRPr lang="pt-BR" dirty="0"/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EF3D79C6-85A6-45CC-9CB1-6822417E4291}"/>
              </a:ext>
            </a:extLst>
          </p:cNvPr>
          <p:cNvSpPr/>
          <p:nvPr/>
        </p:nvSpPr>
        <p:spPr>
          <a:xfrm>
            <a:off x="200140" y="3268326"/>
            <a:ext cx="7650812" cy="31393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en-US" b="1" dirty="0" err="1"/>
              <a:t>Custo</a:t>
            </a:r>
            <a:r>
              <a:rPr lang="en-US" b="1" dirty="0"/>
              <a:t> de </a:t>
            </a:r>
            <a:r>
              <a:rPr lang="en-US" b="1" dirty="0" err="1"/>
              <a:t>medicamento</a:t>
            </a:r>
            <a:r>
              <a:rPr lang="en-US" b="1" dirty="0"/>
              <a:t> </a:t>
            </a:r>
            <a:r>
              <a:rPr lang="en-US" b="1" dirty="0" err="1"/>
              <a:t>utilizados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dirty="0"/>
              <a:t>Qual é o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caro</a:t>
            </a:r>
            <a:r>
              <a:rPr lang="en-US" dirty="0"/>
              <a:t>?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Onde</a:t>
            </a:r>
            <a:r>
              <a:rPr lang="en-US" dirty="0"/>
              <a:t> </a:t>
            </a:r>
            <a:r>
              <a:rPr lang="en-US" dirty="0" err="1"/>
              <a:t>está</a:t>
            </a:r>
            <a:r>
              <a:rPr lang="en-US" dirty="0"/>
              <a:t> o </a:t>
            </a:r>
            <a:r>
              <a:rPr lang="en-US" dirty="0" err="1"/>
              <a:t>maior</a:t>
            </a:r>
            <a:r>
              <a:rPr lang="en-US" dirty="0"/>
              <a:t> </a:t>
            </a:r>
            <a:r>
              <a:rPr lang="en-US" dirty="0" err="1"/>
              <a:t>gasto</a:t>
            </a:r>
            <a:r>
              <a:rPr lang="en-US" dirty="0"/>
              <a:t>?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Quais</a:t>
            </a:r>
            <a:r>
              <a:rPr lang="en-US" dirty="0"/>
              <a:t> </a:t>
            </a:r>
            <a:r>
              <a:rPr lang="en-US" dirty="0" err="1"/>
              <a:t>são</a:t>
            </a:r>
            <a:r>
              <a:rPr lang="en-US" dirty="0"/>
              <a:t> as </a:t>
            </a:r>
            <a:r>
              <a:rPr lang="en-US" dirty="0" err="1"/>
              <a:t>categorias</a:t>
            </a:r>
            <a:r>
              <a:rPr lang="en-US" dirty="0"/>
              <a:t> </a:t>
            </a:r>
            <a:r>
              <a:rPr lang="en-US" dirty="0" err="1"/>
              <a:t>terapêuticas</a:t>
            </a:r>
            <a:r>
              <a:rPr lang="en-US" dirty="0"/>
              <a:t>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carar</a:t>
            </a:r>
            <a:r>
              <a:rPr lang="en-US" dirty="0"/>
              <a:t>?</a:t>
            </a:r>
          </a:p>
          <a:p>
            <a:pPr marL="285750" indent="-285750">
              <a:buFontTx/>
              <a:buChar char="-"/>
            </a:pPr>
            <a:r>
              <a:rPr lang="en-US" dirty="0"/>
              <a:t>Qual o percentual do </a:t>
            </a:r>
            <a:r>
              <a:rPr lang="en-US" dirty="0" err="1"/>
              <a:t>orçamento</a:t>
            </a:r>
            <a:r>
              <a:rPr lang="en-US" dirty="0"/>
              <a:t> </a:t>
            </a:r>
            <a:r>
              <a:rPr lang="en-US" dirty="0" err="1"/>
              <a:t>gasto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</a:t>
            </a:r>
            <a:r>
              <a:rPr lang="en-US" dirty="0" err="1"/>
              <a:t>determinadas</a:t>
            </a:r>
            <a:r>
              <a:rPr lang="en-US" dirty="0"/>
              <a:t> classes </a:t>
            </a:r>
            <a:r>
              <a:rPr lang="en-US" dirty="0" err="1"/>
              <a:t>terapêuticas</a:t>
            </a:r>
            <a:r>
              <a:rPr lang="en-US" dirty="0"/>
              <a:t>?</a:t>
            </a:r>
          </a:p>
          <a:p>
            <a:r>
              <a:rPr lang="en-US" b="1" dirty="0" err="1"/>
              <a:t>Quantidades</a:t>
            </a:r>
            <a:r>
              <a:rPr lang="en-US" b="1" dirty="0"/>
              <a:t> (</a:t>
            </a:r>
            <a:r>
              <a:rPr lang="en-US" b="1" dirty="0" err="1"/>
              <a:t>em</a:t>
            </a:r>
            <a:r>
              <a:rPr lang="en-US" b="1" dirty="0"/>
              <a:t> </a:t>
            </a:r>
            <a:r>
              <a:rPr lang="en-US" b="1" dirty="0" err="1"/>
              <a:t>unidade</a:t>
            </a:r>
            <a:r>
              <a:rPr lang="en-US" b="1" dirty="0"/>
              <a:t>) de </a:t>
            </a:r>
            <a:r>
              <a:rPr lang="en-US" b="1" dirty="0" err="1"/>
              <a:t>medicamentos</a:t>
            </a:r>
            <a:r>
              <a:rPr lang="en-US" b="1" dirty="0"/>
              <a:t> </a:t>
            </a:r>
            <a:r>
              <a:rPr lang="en-US" b="1" dirty="0" err="1"/>
              <a:t>utilizados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dirty="0" err="1"/>
              <a:t>Quais</a:t>
            </a:r>
            <a:r>
              <a:rPr lang="en-US" dirty="0"/>
              <a:t> </a:t>
            </a:r>
            <a:r>
              <a:rPr lang="en-US" dirty="0" err="1"/>
              <a:t>são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edicamentos</a:t>
            </a:r>
            <a:r>
              <a:rPr lang="en-US" dirty="0"/>
              <a:t> </a:t>
            </a:r>
            <a:r>
              <a:rPr lang="en-US" dirty="0" err="1"/>
              <a:t>mais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</a:t>
            </a:r>
            <a:r>
              <a:rPr lang="en-US" dirty="0" err="1"/>
              <a:t>menos</a:t>
            </a:r>
            <a:r>
              <a:rPr lang="en-US" dirty="0"/>
              <a:t> </a:t>
            </a:r>
            <a:r>
              <a:rPr lang="en-US" dirty="0" err="1"/>
              <a:t>frequentes</a:t>
            </a:r>
            <a:r>
              <a:rPr lang="en-US" dirty="0"/>
              <a:t>?</a:t>
            </a:r>
          </a:p>
          <a:p>
            <a:pPr marL="285750" indent="-285750">
              <a:buFontTx/>
              <a:buChar char="-"/>
            </a:pPr>
            <a:r>
              <a:rPr lang="en-US" dirty="0"/>
              <a:t>O </a:t>
            </a:r>
            <a:r>
              <a:rPr lang="en-US" dirty="0" err="1"/>
              <a:t>consumo</a:t>
            </a:r>
            <a:r>
              <a:rPr lang="en-US" dirty="0"/>
              <a:t> </a:t>
            </a:r>
            <a:r>
              <a:rPr lang="en-US" dirty="0" err="1"/>
              <a:t>observado</a:t>
            </a:r>
            <a:r>
              <a:rPr lang="en-US" dirty="0"/>
              <a:t> </a:t>
            </a:r>
            <a:r>
              <a:rPr lang="en-US" dirty="0" err="1"/>
              <a:t>corrresponde</a:t>
            </a:r>
            <a:r>
              <a:rPr lang="en-US" dirty="0"/>
              <a:t> </a:t>
            </a:r>
            <a:r>
              <a:rPr lang="en-US" dirty="0" err="1"/>
              <a:t>ao</a:t>
            </a:r>
            <a:r>
              <a:rPr lang="en-US" dirty="0"/>
              <a:t> </a:t>
            </a:r>
            <a:r>
              <a:rPr lang="en-US" dirty="0" err="1"/>
              <a:t>consumo</a:t>
            </a:r>
            <a:r>
              <a:rPr lang="en-US" dirty="0"/>
              <a:t> </a:t>
            </a:r>
            <a:r>
              <a:rPr lang="en-US" dirty="0" err="1"/>
              <a:t>esperado</a:t>
            </a:r>
            <a:r>
              <a:rPr lang="en-US" dirty="0"/>
              <a:t>?</a:t>
            </a:r>
          </a:p>
          <a:p>
            <a:r>
              <a:rPr lang="en-US" b="1" dirty="0" err="1"/>
              <a:t>Utilização</a:t>
            </a:r>
            <a:r>
              <a:rPr lang="en-US" b="1" dirty="0"/>
              <a:t> de </a:t>
            </a:r>
            <a:r>
              <a:rPr lang="en-US" b="1" dirty="0" err="1"/>
              <a:t>determinados</a:t>
            </a:r>
            <a:r>
              <a:rPr lang="en-US" b="1" dirty="0"/>
              <a:t> </a:t>
            </a:r>
            <a:r>
              <a:rPr lang="en-US" b="1" dirty="0" err="1"/>
              <a:t>medicamentos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pt-BR" dirty="0"/>
              <a:t>Uso de medicamentos genéricos</a:t>
            </a:r>
          </a:p>
          <a:p>
            <a:pPr marL="285750" indent="-285750">
              <a:buFontTx/>
              <a:buChar char="-"/>
            </a:pPr>
            <a:r>
              <a:rPr lang="pt-BR" dirty="0"/>
              <a:t>Incidência de eventos adversos e erros de medicação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="" xmlns:a16="http://schemas.microsoft.com/office/drawing/2014/main" id="{78EAB639-9371-4E60-BC9C-6DC95EF55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7599" y="1398014"/>
            <a:ext cx="1476375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764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0864FB24-FBDC-4F8E-865E-F583767F9C7E}"/>
              </a:ext>
            </a:extLst>
          </p:cNvPr>
          <p:cNvSpPr txBox="1">
            <a:spLocks/>
          </p:cNvSpPr>
          <p:nvPr/>
        </p:nvSpPr>
        <p:spPr>
          <a:xfrm>
            <a:off x="508298" y="192855"/>
            <a:ext cx="1063752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pic>
        <p:nvPicPr>
          <p:cNvPr id="15" name="Imagem 14">
            <a:extLst>
              <a:ext uri="{FF2B5EF4-FFF2-40B4-BE49-F238E27FC236}">
                <a16:creationId xmlns="" xmlns:a16="http://schemas.microsoft.com/office/drawing/2014/main" id="{AE24AB08-9D13-4411-87FC-1F898AD06E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1151" y="2205697"/>
            <a:ext cx="1476375" cy="1828800"/>
          </a:xfrm>
          <a:prstGeom prst="rect">
            <a:avLst/>
          </a:prstGeom>
        </p:spPr>
      </p:pic>
      <p:sp>
        <p:nvSpPr>
          <p:cNvPr id="16" name="Caixa de Texto 2">
            <a:extLst>
              <a:ext uri="{FF2B5EF4-FFF2-40B4-BE49-F238E27FC236}">
                <a16:creationId xmlns="" xmlns:a16="http://schemas.microsoft.com/office/drawing/2014/main" id="{53ED0537-379B-443D-8740-B2EFD15C64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0140" y="1026942"/>
            <a:ext cx="11771466" cy="301424"/>
          </a:xfrm>
          <a:prstGeom prst="rect">
            <a:avLst/>
          </a:prstGeom>
          <a:solidFill>
            <a:srgbClr val="00CC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14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ª ETAPA: INVESTIGAÇÃO APROFUNDADA DE PROBLEMAS ESPECÍFICOS</a:t>
            </a:r>
            <a:endParaRPr lang="pt-BR" sz="160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Caixa de Texto 2">
            <a:extLst>
              <a:ext uri="{FF2B5EF4-FFF2-40B4-BE49-F238E27FC236}">
                <a16:creationId xmlns="" xmlns:a16="http://schemas.microsoft.com/office/drawing/2014/main" id="{2A39155F-9766-45E2-AE35-55C1F35477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0140" y="1414213"/>
            <a:ext cx="5902993" cy="762235"/>
          </a:xfrm>
          <a:prstGeom prst="rect">
            <a:avLst/>
          </a:prstGeom>
          <a:solidFill>
            <a:srgbClr val="9BBB59">
              <a:lumMod val="60000"/>
              <a:lumOff val="4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ORIA DA PRESCRIÇÃO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alia a adequação do tratamento dos pacientes frente às diretrizes de atenção à saúde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Caixa de Texto 2">
            <a:extLst>
              <a:ext uri="{FF2B5EF4-FFF2-40B4-BE49-F238E27FC236}">
                <a16:creationId xmlns="" xmlns:a16="http://schemas.microsoft.com/office/drawing/2014/main" id="{293FCA1F-EF8F-4E2C-B01F-CC5C8DF968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996" y="1414213"/>
            <a:ext cx="5833952" cy="762235"/>
          </a:xfrm>
          <a:prstGeom prst="rect">
            <a:avLst/>
          </a:prstGeom>
          <a:solidFill>
            <a:srgbClr val="9BBB59">
              <a:lumMod val="60000"/>
              <a:lumOff val="4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UDOS QUALITATIVOS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ilizado para determinar as causas de um problema de utilização de medicamentos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Caixa de Texto 2">
            <a:extLst>
              <a:ext uri="{FF2B5EF4-FFF2-40B4-BE49-F238E27FC236}">
                <a16:creationId xmlns="" xmlns:a16="http://schemas.microsoft.com/office/drawing/2014/main" id="{F2561E4E-8121-471B-BEC9-34D59103A0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8158" y="2205697"/>
            <a:ext cx="5902993" cy="762235"/>
          </a:xfrm>
          <a:prstGeom prst="rect">
            <a:avLst/>
          </a:prstGeom>
          <a:solidFill>
            <a:srgbClr val="9BBB59">
              <a:lumMod val="60000"/>
              <a:lumOff val="4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ISÃO DE USO DE MEDICAMENTOS 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ifica se o uso de um medicamento específico está de acordo com critérios previamente acordados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="" xmlns:a16="http://schemas.microsoft.com/office/drawing/2014/main" id="{7D730F0F-FE93-4E2B-94DD-D464A9D846D6}"/>
              </a:ext>
            </a:extLst>
          </p:cNvPr>
          <p:cNvSpPr/>
          <p:nvPr/>
        </p:nvSpPr>
        <p:spPr>
          <a:xfrm>
            <a:off x="200140" y="4309338"/>
            <a:ext cx="11758808" cy="147732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b="1" dirty="0"/>
              <a:t>Compreensão dos fatores que influenciam o uso de medicamentos</a:t>
            </a:r>
          </a:p>
          <a:p>
            <a:pPr marL="285750" indent="-285750">
              <a:buFontTx/>
              <a:buChar char="-"/>
            </a:pPr>
            <a:r>
              <a:rPr lang="pt-BR" dirty="0"/>
              <a:t>“Por que” os problemas no uso de medicamentos ocorrem, na perspectiva dos prescritores, dispensadores e usuários de medicamentos.</a:t>
            </a:r>
          </a:p>
          <a:p>
            <a:pPr marL="285750" indent="-285750">
              <a:buFontTx/>
              <a:buChar char="-"/>
            </a:pPr>
            <a:r>
              <a:rPr lang="pt-BR" dirty="0"/>
              <a:t>A compreensão do comportamento das pessoas, a razão para agirem de determinada maneira e quais fatores influenciam nesse processo é fundamental para o planejamento de intervenções educativas mais assertivas</a:t>
            </a:r>
          </a:p>
        </p:txBody>
      </p:sp>
    </p:spTree>
    <p:extLst>
      <p:ext uri="{BB962C8B-B14F-4D97-AF65-F5344CB8AC3E}">
        <p14:creationId xmlns:p14="http://schemas.microsoft.com/office/powerpoint/2010/main" val="26238001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0864FB24-FBDC-4F8E-865E-F583767F9C7E}"/>
              </a:ext>
            </a:extLst>
          </p:cNvPr>
          <p:cNvSpPr txBox="1">
            <a:spLocks/>
          </p:cNvSpPr>
          <p:nvPr/>
        </p:nvSpPr>
        <p:spPr>
          <a:xfrm>
            <a:off x="508298" y="192855"/>
            <a:ext cx="1063752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="" xmlns:a16="http://schemas.microsoft.com/office/drawing/2014/main" id="{9B4D606A-BEAC-44B4-B575-AE98B9B100D4}"/>
              </a:ext>
            </a:extLst>
          </p:cNvPr>
          <p:cNvGrpSpPr/>
          <p:nvPr/>
        </p:nvGrpSpPr>
        <p:grpSpPr>
          <a:xfrm>
            <a:off x="182880" y="1055079"/>
            <a:ext cx="11788726" cy="5469391"/>
            <a:chOff x="2843212" y="1276668"/>
            <a:chExt cx="6505575" cy="4304665"/>
          </a:xfrm>
        </p:grpSpPr>
        <p:sp>
          <p:nvSpPr>
            <p:cNvPr id="33" name="Caixa de Texto 2">
              <a:extLst>
                <a:ext uri="{FF2B5EF4-FFF2-40B4-BE49-F238E27FC236}">
                  <a16:creationId xmlns="" xmlns:a16="http://schemas.microsoft.com/office/drawing/2014/main" id="{67D49BD8-1A0B-49CE-ABC9-3CE9FA6303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1276668"/>
              <a:ext cx="6496050" cy="237235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ª ETAPA: IDENTIFICAÇÃO DOS PRINCIPAIS PROBLEMAS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Caixa de Texto 2">
              <a:extLst>
                <a:ext uri="{FF2B5EF4-FFF2-40B4-BE49-F238E27FC236}">
                  <a16:creationId xmlns="" xmlns:a16="http://schemas.microsoft.com/office/drawing/2014/main" id="{4BA70101-B3EB-4A6C-BE71-A0368FF1C5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1581468"/>
              <a:ext cx="3257550" cy="599914"/>
            </a:xfrm>
            <a:prstGeom prst="rect">
              <a:avLst/>
            </a:prstGeom>
            <a:solidFill>
              <a:srgbClr val="FFE48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STUDOS QUANTITATIVOS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ornecem uma visão geral do uso de medicamentos, a partir de dados globais de consumo de medicamentos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Caixa de Texto 2">
              <a:extLst>
                <a:ext uri="{FF2B5EF4-FFF2-40B4-BE49-F238E27FC236}">
                  <a16:creationId xmlns="" xmlns:a16="http://schemas.microsoft.com/office/drawing/2014/main" id="{87A3FD36-858D-4343-B801-BC6A7980B7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22352" y="1581468"/>
              <a:ext cx="3219450" cy="599914"/>
            </a:xfrm>
            <a:prstGeom prst="rect">
              <a:avLst/>
            </a:prstGeom>
            <a:solidFill>
              <a:srgbClr val="FFE48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DICADORES DO USO DE MEDICAMENTOS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dicadores recomendados pela Organização Mundial da Saúde, coletados pelos serviços de saúde, a nível individual do paciente</a:t>
              </a:r>
              <a:endPara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Seta: para Baixo 35">
              <a:extLst>
                <a:ext uri="{FF2B5EF4-FFF2-40B4-BE49-F238E27FC236}">
                  <a16:creationId xmlns="" xmlns:a16="http://schemas.microsoft.com/office/drawing/2014/main" id="{D88832A3-B28C-4792-AE57-442766E31396}"/>
                </a:ext>
              </a:extLst>
            </p:cNvPr>
            <p:cNvSpPr/>
            <p:nvPr/>
          </p:nvSpPr>
          <p:spPr>
            <a:xfrm>
              <a:off x="5769927" y="2400618"/>
              <a:ext cx="704850" cy="304800"/>
            </a:xfrm>
            <a:prstGeom prst="downArrow">
              <a:avLst/>
            </a:prstGeom>
            <a:solidFill>
              <a:sysClr val="windowText" lastClr="000000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Caixa de Texto 2">
              <a:extLst>
                <a:ext uri="{FF2B5EF4-FFF2-40B4-BE49-F238E27FC236}">
                  <a16:creationId xmlns="" xmlns:a16="http://schemas.microsoft.com/office/drawing/2014/main" id="{151811D1-4E97-4777-88CD-36FA4533D8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2749233"/>
              <a:ext cx="6496050" cy="237235"/>
            </a:xfrm>
            <a:prstGeom prst="rect">
              <a:avLst/>
            </a:prstGeom>
            <a:solidFill>
              <a:srgbClr val="00CC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 b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ª ETAPA: INVESTIGAÇÃO APROFUNDADA DE PROBLEMAS ESPECÍFICOS</a:t>
              </a:r>
              <a:endParaRPr lang="pt-BR" sz="16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Caixa de Texto 2">
              <a:extLst>
                <a:ext uri="{FF2B5EF4-FFF2-40B4-BE49-F238E27FC236}">
                  <a16:creationId xmlns="" xmlns:a16="http://schemas.microsoft.com/office/drawing/2014/main" id="{68B95ABD-B09F-4CE1-9A63-64072FC70A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3054033"/>
              <a:ext cx="3257550" cy="599914"/>
            </a:xfrm>
            <a:prstGeom prst="rect">
              <a:avLst/>
            </a:prstGeom>
            <a:solidFill>
              <a:srgbClr val="9BBB59">
                <a:lumMod val="60000"/>
                <a:lumOff val="40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UDITORIA DA PRESCRIÇÃO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valia a adequação do tratamento dos pacientes frente às diretrizes de atenção à saúde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Caixa de Texto 2">
              <a:extLst>
                <a:ext uri="{FF2B5EF4-FFF2-40B4-BE49-F238E27FC236}">
                  <a16:creationId xmlns="" xmlns:a16="http://schemas.microsoft.com/office/drawing/2014/main" id="{7EB1F098-CB68-4364-A377-9438BD0347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22352" y="3054033"/>
              <a:ext cx="3219450" cy="599914"/>
            </a:xfrm>
            <a:prstGeom prst="rect">
              <a:avLst/>
            </a:prstGeom>
            <a:solidFill>
              <a:srgbClr val="9BBB59">
                <a:lumMod val="60000"/>
                <a:lumOff val="40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STUDOS QUALITATIVOS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tilizado para determinar as causas de um problema de utilização de medicamentos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Caixa de Texto 2">
              <a:extLst>
                <a:ext uri="{FF2B5EF4-FFF2-40B4-BE49-F238E27FC236}">
                  <a16:creationId xmlns="" xmlns:a16="http://schemas.microsoft.com/office/drawing/2014/main" id="{4931D1E1-A6B1-4E45-8115-EE1368BB93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07852" y="3676968"/>
              <a:ext cx="3257550" cy="599914"/>
            </a:xfrm>
            <a:prstGeom prst="rect">
              <a:avLst/>
            </a:prstGeom>
            <a:solidFill>
              <a:srgbClr val="9BBB59">
                <a:lumMod val="60000"/>
                <a:lumOff val="40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VISÃO DE USO DE MEDICAMENTOS 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Verifica se o uso de um medicamento específico está de acordo com critérios previamente acordados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Caixa de Texto 2">
              <a:extLst>
                <a:ext uri="{FF2B5EF4-FFF2-40B4-BE49-F238E27FC236}">
                  <a16:creationId xmlns="" xmlns:a16="http://schemas.microsoft.com/office/drawing/2014/main" id="{78C8B86B-2465-4AA4-9842-02F6B010DB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3212" y="4692333"/>
              <a:ext cx="6496050" cy="237235"/>
            </a:xfrm>
            <a:prstGeom prst="rect">
              <a:avLst/>
            </a:prstGeom>
            <a:solidFill>
              <a:srgbClr val="8064A2">
                <a:lumMod val="7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ª ETAPA: DESENVOLVIMENTO, IMPLEMENTAÇÃO E AVALIAÇÃO DE ESTRATÉGIAS PARA PROMOÇÃO DO USO RACIONAL DE MEDICAMENTOS</a:t>
              </a:r>
              <a:endParaRPr kumimoji="0" lang="pt-B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Seta: para Baixo 41">
              <a:extLst>
                <a:ext uri="{FF2B5EF4-FFF2-40B4-BE49-F238E27FC236}">
                  <a16:creationId xmlns="" xmlns:a16="http://schemas.microsoft.com/office/drawing/2014/main" id="{AFA70EF5-3FE9-4BF5-9A77-D2EE8F4BEE73}"/>
                </a:ext>
              </a:extLst>
            </p:cNvPr>
            <p:cNvSpPr/>
            <p:nvPr/>
          </p:nvSpPr>
          <p:spPr>
            <a:xfrm>
              <a:off x="5779452" y="4334193"/>
              <a:ext cx="704850" cy="304800"/>
            </a:xfrm>
            <a:prstGeom prst="downArrow">
              <a:avLst/>
            </a:prstGeom>
            <a:solidFill>
              <a:sysClr val="windowText" lastClr="000000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Caixa de Texto 2">
              <a:extLst>
                <a:ext uri="{FF2B5EF4-FFF2-40B4-BE49-F238E27FC236}">
                  <a16:creationId xmlns="" xmlns:a16="http://schemas.microsoft.com/office/drawing/2014/main" id="{75615C2E-42DC-4166-A291-6CD35FCBA3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5133658"/>
              <a:ext cx="6486525" cy="447675"/>
            </a:xfrm>
            <a:prstGeom prst="rect">
              <a:avLst/>
            </a:prstGeom>
            <a:solidFill>
              <a:srgbClr val="C8BCD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Os resultados dos estudos de utilização de medicamentos podem contribuir para o planejamento do cuidado em saúde, com o desenvolvimento de estratégias para promover um uso mais racional de medicamentos.</a:t>
              </a:r>
              <a:endParaRPr lang="pt-BR" sz="16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pt-BR" sz="16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64774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0864FB24-FBDC-4F8E-865E-F583767F9C7E}"/>
              </a:ext>
            </a:extLst>
          </p:cNvPr>
          <p:cNvSpPr txBox="1">
            <a:spLocks/>
          </p:cNvSpPr>
          <p:nvPr/>
        </p:nvSpPr>
        <p:spPr>
          <a:xfrm>
            <a:off x="508298" y="192855"/>
            <a:ext cx="1063752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="" xmlns:a16="http://schemas.microsoft.com/office/drawing/2014/main" id="{9B4D606A-BEAC-44B4-B575-AE98B9B100D4}"/>
              </a:ext>
            </a:extLst>
          </p:cNvPr>
          <p:cNvGrpSpPr/>
          <p:nvPr/>
        </p:nvGrpSpPr>
        <p:grpSpPr>
          <a:xfrm>
            <a:off x="182880" y="1076144"/>
            <a:ext cx="11771466" cy="1129533"/>
            <a:chOff x="2843212" y="1293247"/>
            <a:chExt cx="6496050" cy="888995"/>
          </a:xfrm>
        </p:grpSpPr>
        <p:sp>
          <p:nvSpPr>
            <p:cNvPr id="41" name="Caixa de Texto 2">
              <a:extLst>
                <a:ext uri="{FF2B5EF4-FFF2-40B4-BE49-F238E27FC236}">
                  <a16:creationId xmlns="" xmlns:a16="http://schemas.microsoft.com/office/drawing/2014/main" id="{78C8B86B-2465-4AA4-9842-02F6B010DB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3212" y="1293247"/>
              <a:ext cx="6496050" cy="237235"/>
            </a:xfrm>
            <a:prstGeom prst="rect">
              <a:avLst/>
            </a:prstGeom>
            <a:solidFill>
              <a:srgbClr val="8064A2">
                <a:lumMod val="7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ª ETAPA: DESENVOLVIMENTO, IMPLEMENTAÇÃO E AVALIAÇÃO DE ESTRATÉGIAS PARA PROMOÇÃO DO USO RACIONAL DE MEDICAMENTOS</a:t>
              </a:r>
              <a:endPara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Caixa de Texto 2">
              <a:extLst>
                <a:ext uri="{FF2B5EF4-FFF2-40B4-BE49-F238E27FC236}">
                  <a16:creationId xmlns="" xmlns:a16="http://schemas.microsoft.com/office/drawing/2014/main" id="{75615C2E-42DC-4166-A291-6CD35FCBA3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2737" y="1734567"/>
              <a:ext cx="6486525" cy="447675"/>
            </a:xfrm>
            <a:prstGeom prst="rect">
              <a:avLst/>
            </a:prstGeom>
            <a:solidFill>
              <a:srgbClr val="C8BCD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Os resultados dos estudos de utilização de medicamentos podem contribuir para o planejamento do cuidado em saúde, com o desenvolvimento de estratégias para promover um uso mais racional de medicamentos.</a:t>
              </a:r>
              <a:endParaRPr lang="pt-BR" sz="16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115000"/>
                </a:lnSpc>
                <a:spcAft>
                  <a:spcPts val="0"/>
                </a:spcAft>
              </a:pPr>
              <a:r>
                <a:rPr lang="pt-BR" sz="14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pt-BR" sz="16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2" name="Imagem 1">
            <a:extLst>
              <a:ext uri="{FF2B5EF4-FFF2-40B4-BE49-F238E27FC236}">
                <a16:creationId xmlns="" xmlns:a16="http://schemas.microsoft.com/office/drawing/2014/main" id="{B0664B90-84F8-46E5-AAD0-6B6B79891B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577" t="50000" r="34923" b="12284"/>
          <a:stretch/>
        </p:blipFill>
        <p:spPr>
          <a:xfrm>
            <a:off x="157936" y="2754405"/>
            <a:ext cx="6175718" cy="3795837"/>
          </a:xfrm>
          <a:prstGeom prst="rect">
            <a:avLst/>
          </a:prstGeom>
        </p:spPr>
      </p:pic>
      <p:sp>
        <p:nvSpPr>
          <p:cNvPr id="16" name="Retângulo 15">
            <a:extLst>
              <a:ext uri="{FF2B5EF4-FFF2-40B4-BE49-F238E27FC236}">
                <a16:creationId xmlns="" xmlns:a16="http://schemas.microsoft.com/office/drawing/2014/main" id="{661B4557-0156-4000-BBA4-7D2B5F5ECE53}"/>
              </a:ext>
            </a:extLst>
          </p:cNvPr>
          <p:cNvSpPr/>
          <p:nvPr/>
        </p:nvSpPr>
        <p:spPr>
          <a:xfrm>
            <a:off x="6333654" y="2394642"/>
            <a:ext cx="5620692" cy="42473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pt-BR" b="1" dirty="0"/>
              <a:t>Estratégias educativ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Educação continuada de profission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Centro de informações sobre medica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Boletins informativ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ormulário terapêutico e diretrizes clínicas</a:t>
            </a:r>
          </a:p>
          <a:p>
            <a:r>
              <a:rPr lang="pt-BR" b="1" dirty="0"/>
              <a:t>Estratégias gerenci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esenvolvimento e implementação de guias de práticas clínic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Auditoria e feed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Farmácia clín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Restrição de prescrição</a:t>
            </a:r>
          </a:p>
          <a:p>
            <a:r>
              <a:rPr lang="pt-BR" b="1" dirty="0"/>
              <a:t>Estratégias regulatóri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Registro de medicam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Licenciamento profiss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Regulação da propaganda médica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15302944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77240" y="1049866"/>
            <a:ext cx="10637520" cy="5909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ferência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777240" y="1823424"/>
            <a:ext cx="1080047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1. Romano-</a:t>
            </a:r>
            <a:r>
              <a:rPr lang="pt-BR" dirty="0" err="1"/>
              <a:t>Lieber</a:t>
            </a:r>
            <a:r>
              <a:rPr lang="pt-BR" dirty="0"/>
              <a:t> NS. </a:t>
            </a:r>
            <a:r>
              <a:rPr lang="pt-BR" dirty="0" err="1"/>
              <a:t>Farmacoepidemiologia</a:t>
            </a:r>
            <a:r>
              <a:rPr lang="pt-BR" dirty="0"/>
              <a:t>. In: </a:t>
            </a:r>
            <a:r>
              <a:rPr lang="pt-BR" dirty="0" err="1"/>
              <a:t>Storpirts</a:t>
            </a:r>
            <a:r>
              <a:rPr lang="pt-BR" dirty="0"/>
              <a:t> S., Mori ALPM, </a:t>
            </a:r>
            <a:r>
              <a:rPr lang="pt-BR" dirty="0" err="1"/>
              <a:t>Yochiy</a:t>
            </a:r>
            <a:r>
              <a:rPr lang="pt-BR" dirty="0"/>
              <a:t> A, Ribeiro E, Porta V. Farmácia Clínica e Atenção Farmacêutica. Guanabara Koogan: São Paulo, 2005 </a:t>
            </a:r>
          </a:p>
          <a:p>
            <a:r>
              <a:rPr lang="pt-BR" dirty="0"/>
              <a:t>2. </a:t>
            </a:r>
            <a:r>
              <a:rPr lang="pt-BR" dirty="0" err="1"/>
              <a:t>Crozara</a:t>
            </a:r>
            <a:r>
              <a:rPr lang="pt-BR" dirty="0"/>
              <a:t> MA, Ribeiro E. Estudo de utilização de medicamentos. In: </a:t>
            </a:r>
            <a:r>
              <a:rPr lang="pt-BR" dirty="0" err="1"/>
              <a:t>Storpirts</a:t>
            </a:r>
            <a:r>
              <a:rPr lang="pt-BR" dirty="0"/>
              <a:t> S., Mori ALPM, </a:t>
            </a:r>
            <a:r>
              <a:rPr lang="pt-BR" dirty="0" err="1"/>
              <a:t>Yochiy</a:t>
            </a:r>
            <a:r>
              <a:rPr lang="pt-BR" dirty="0"/>
              <a:t> A, Ribeiro E, Porta V. Farmácia Clínica e Atenção Farmacêutica. Guanabara Koogan: São Paulo, 2005 </a:t>
            </a:r>
          </a:p>
          <a:p>
            <a:r>
              <a:rPr lang="pt-BR" dirty="0"/>
              <a:t>3. Estudos de utilização de medicamentos. Cláudia GSO Castro (coord.) Ed. Fiocruz. Rio de Janeiro, 2000. Disponível em: http://books.scielo.org/id/zq6vb/pdf/castro-9788575412657.pdf </a:t>
            </a:r>
          </a:p>
          <a:p>
            <a:r>
              <a:rPr lang="pt-BR" dirty="0"/>
              <a:t>4. </a:t>
            </a:r>
            <a:r>
              <a:rPr lang="en-GB" dirty="0"/>
              <a:t>Strom BL. What is pharmacoepidemiology? In: Strom BL, Kimmel SE, Hennessy S, </a:t>
            </a:r>
            <a:r>
              <a:rPr lang="en-GB" dirty="0" err="1"/>
              <a:t>organizadores</a:t>
            </a:r>
            <a:r>
              <a:rPr lang="en-GB" dirty="0"/>
              <a:t>. </a:t>
            </a:r>
            <a:r>
              <a:rPr lang="en-US" dirty="0"/>
              <a:t>Pharmacoepidemiology. 5</a:t>
            </a:r>
            <a:r>
              <a:rPr lang="en-US" baseline="30000" dirty="0"/>
              <a:t>th</a:t>
            </a:r>
            <a:r>
              <a:rPr lang="en-US" dirty="0"/>
              <a:t> ed. </a:t>
            </a:r>
            <a:r>
              <a:rPr lang="pt-BR" dirty="0" err="1"/>
              <a:t>Chicester</a:t>
            </a:r>
            <a:r>
              <a:rPr lang="pt-BR" dirty="0"/>
              <a:t>: John </a:t>
            </a:r>
            <a:r>
              <a:rPr lang="pt-BR" dirty="0" err="1"/>
              <a:t>Wiley</a:t>
            </a:r>
            <a:r>
              <a:rPr lang="pt-BR" dirty="0"/>
              <a:t> &amp; Sons; 2012. p. 1-22.</a:t>
            </a:r>
          </a:p>
          <a:p>
            <a:r>
              <a:rPr lang="pt-BR" dirty="0"/>
              <a:t>5. </a:t>
            </a:r>
            <a:r>
              <a:rPr lang="en-GB" dirty="0"/>
              <a:t>World Health Organization, Management Sciences for Health. Drug and therapeutics committees: a practical guide. Edited by K. Holloway e T. Green. France: World Health Organization; 2003 [</a:t>
            </a:r>
            <a:r>
              <a:rPr lang="en-GB" dirty="0" err="1"/>
              <a:t>acesso</a:t>
            </a:r>
            <a:r>
              <a:rPr lang="en-GB" dirty="0"/>
              <a:t> </a:t>
            </a:r>
            <a:r>
              <a:rPr lang="en-GB" dirty="0" err="1"/>
              <a:t>em</a:t>
            </a:r>
            <a:r>
              <a:rPr lang="en-GB" dirty="0"/>
              <a:t> 27 </a:t>
            </a:r>
            <a:r>
              <a:rPr lang="en-GB" dirty="0" err="1"/>
              <a:t>fev</a:t>
            </a:r>
            <a:r>
              <a:rPr lang="en-GB" dirty="0"/>
              <a:t>. 2020]. </a:t>
            </a:r>
            <a:r>
              <a:rPr lang="pt-BR" dirty="0"/>
              <a:t>Disponível em: </a:t>
            </a:r>
            <a:r>
              <a:rPr lang="pt-BR" dirty="0">
                <a:hlinkClick r:id="rId3"/>
              </a:rPr>
              <a:t>http://apps.who.int/</a:t>
            </a:r>
            <a:r>
              <a:rPr lang="pt-BR" dirty="0" err="1">
                <a:hlinkClick r:id="rId3"/>
              </a:rPr>
              <a:t>medicinedocs</a:t>
            </a:r>
            <a:r>
              <a:rPr lang="pt-BR" dirty="0">
                <a:hlinkClick r:id="rId3"/>
              </a:rPr>
              <a:t>/</a:t>
            </a:r>
            <a:r>
              <a:rPr lang="pt-BR" dirty="0" err="1">
                <a:hlinkClick r:id="rId3"/>
              </a:rPr>
              <a:t>pdf</a:t>
            </a:r>
            <a:r>
              <a:rPr lang="pt-BR" dirty="0">
                <a:hlinkClick r:id="rId3"/>
              </a:rPr>
              <a:t>/s4882e/s4882e.pdf</a:t>
            </a:r>
            <a:r>
              <a:rPr lang="pt-BR" dirty="0"/>
              <a:t>.</a:t>
            </a:r>
          </a:p>
          <a:p>
            <a:r>
              <a:rPr lang="pt-BR" dirty="0"/>
              <a:t>6. Luz TCB, </a:t>
            </a:r>
            <a:r>
              <a:rPr lang="pt-BR" dirty="0" err="1"/>
              <a:t>Mosegui</a:t>
            </a:r>
            <a:r>
              <a:rPr lang="pt-BR" dirty="0"/>
              <a:t> GBG. Epidemiologia e assistência farmacêutica. In: Osorio-de-Castro CGS, Luiza VL, Castilho SR, Oliveira MA, </a:t>
            </a:r>
            <a:r>
              <a:rPr lang="pt-BR" dirty="0" err="1"/>
              <a:t>Jaramillo</a:t>
            </a:r>
            <a:r>
              <a:rPr lang="pt-BR" dirty="0"/>
              <a:t> NM, organizadores. Assistência farmacêutica: gestão e prática para profissionais de saúde. Rio de Janeiro: Editora Fiocruz; 2014. p. 308-23.</a:t>
            </a:r>
          </a:p>
        </p:txBody>
      </p:sp>
    </p:spTree>
    <p:extLst>
      <p:ext uri="{BB962C8B-B14F-4D97-AF65-F5344CB8AC3E}">
        <p14:creationId xmlns:p14="http://schemas.microsoft.com/office/powerpoint/2010/main" val="652132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0768" y="440055"/>
            <a:ext cx="11108724" cy="1588127"/>
          </a:xfrm>
          <a:solidFill>
            <a:srgbClr val="00B0F0"/>
          </a:solidFill>
          <a:ln>
            <a:noFill/>
          </a:ln>
          <a:extLst/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 que é a Farmacoepidemiologia?</a:t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pt-BR" sz="3600" b="1" cap="none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777239" y="2615965"/>
            <a:ext cx="1080047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 smtClean="0"/>
              <a:t>A farmacoepidemiologia </a:t>
            </a:r>
            <a:r>
              <a:rPr lang="pt-BR" sz="3600" b="1" dirty="0" smtClean="0"/>
              <a:t>estuda </a:t>
            </a:r>
            <a:r>
              <a:rPr lang="pt-BR" sz="3600" b="1" dirty="0"/>
              <a:t>o uso </a:t>
            </a:r>
            <a:r>
              <a:rPr lang="pt-BR" sz="3600" b="1" dirty="0" smtClean="0"/>
              <a:t>de medicamentos </a:t>
            </a:r>
            <a:r>
              <a:rPr lang="pt-BR" sz="3600" b="1" dirty="0"/>
              <a:t>na população</a:t>
            </a:r>
            <a:r>
              <a:rPr lang="pt-BR" sz="3600" dirty="0" smtClean="0"/>
              <a:t>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6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3600" dirty="0" smtClean="0"/>
              <a:t>Abrange dois grupos </a:t>
            </a:r>
            <a:r>
              <a:rPr lang="pt-BR" sz="3600" dirty="0"/>
              <a:t>de ações: </a:t>
            </a:r>
            <a:r>
              <a:rPr lang="pt-BR" sz="3600" b="1" dirty="0" smtClean="0"/>
              <a:t>a </a:t>
            </a:r>
            <a:r>
              <a:rPr lang="pt-BR" sz="3600" b="1" dirty="0"/>
              <a:t>Farmacovigilância e os </a:t>
            </a:r>
            <a:r>
              <a:rPr lang="pt-BR" sz="3600" b="1" dirty="0" smtClean="0"/>
              <a:t>Estudos de Utilização de Medicament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3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5533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0768" y="190756"/>
            <a:ext cx="11108724" cy="2086725"/>
          </a:xfrm>
          <a:solidFill>
            <a:srgbClr val="00B0F0"/>
          </a:solidFill>
          <a:ln>
            <a:noFill/>
          </a:ln>
          <a:extLst/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de o farmacêutico usa este conhecimento em nosso dia-a-dia?</a:t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pt-BR" sz="3600" b="1" cap="none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4151871" y="2554180"/>
            <a:ext cx="7425839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385763">
              <a:buFont typeface="Arial" panose="020B0604020202020204" pitchFamily="34" charset="0"/>
              <a:buChar char="•"/>
            </a:pPr>
            <a:r>
              <a:rPr lang="pt-BR" sz="2400" dirty="0" smtClean="0"/>
              <a:t>Avaliação do perfil de uso de medicamentos pelos pacientes em um serviço de saúde, em um município, em um país (o que é mais prescrito? em que local? por quem? porque?)</a:t>
            </a:r>
          </a:p>
          <a:p>
            <a:pPr marL="571500" indent="-385763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385763">
              <a:buFont typeface="Arial" panose="020B0604020202020204" pitchFamily="34" charset="0"/>
              <a:buChar char="•"/>
            </a:pPr>
            <a:r>
              <a:rPr lang="pt-BR" sz="2400" dirty="0" smtClean="0"/>
              <a:t>Ajuste de doses</a:t>
            </a:r>
          </a:p>
          <a:p>
            <a:pPr marL="571500" indent="-385763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385763">
              <a:buFont typeface="Arial" panose="020B0604020202020204" pitchFamily="34" charset="0"/>
              <a:buChar char="•"/>
            </a:pPr>
            <a:r>
              <a:rPr lang="pt-BR" sz="2400" dirty="0" smtClean="0"/>
              <a:t>Comissão de Controle de Infecção Hospitalar – Dose Diária Definida de antibióticos</a:t>
            </a:r>
          </a:p>
          <a:p>
            <a:pPr marL="571500" indent="-385763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385763">
              <a:buFont typeface="Arial" panose="020B0604020202020204" pitchFamily="34" charset="0"/>
              <a:buChar char="•"/>
            </a:pPr>
            <a:r>
              <a:rPr lang="pt-BR" sz="2400" dirty="0" smtClean="0"/>
              <a:t>Avaliação de </a:t>
            </a:r>
            <a:r>
              <a:rPr lang="pt-BR" sz="2400" dirty="0"/>
              <a:t>erros de </a:t>
            </a:r>
            <a:r>
              <a:rPr lang="pt-BR" sz="2400" dirty="0" smtClean="0"/>
              <a:t>medicação</a:t>
            </a:r>
            <a:endParaRPr lang="pt-BR" sz="2800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055" y="3197697"/>
            <a:ext cx="3595816" cy="2397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2900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0768" y="190756"/>
            <a:ext cx="11108724" cy="2086725"/>
          </a:xfrm>
          <a:solidFill>
            <a:srgbClr val="00B0F0"/>
          </a:solidFill>
          <a:ln>
            <a:noFill/>
          </a:ln>
          <a:extLst/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de o farmacêutico usa este conhecimento em nosso dia-a-dia?</a:t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pt-BR" sz="3600" b="1" cap="none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594416" y="2282326"/>
            <a:ext cx="8359579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1133475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/>
              <a:t>Registro e precificação de medicamentos (qual preço poderia propor para este novo medicamento? quanto custam os competidores?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 smtClean="0"/>
              <a:t>Incorporação de medicamentos (porque incluir um medicamento na lista? com quais benefícios e a que custo?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 smtClean="0"/>
              <a:t>E depois? O que aconteceu? (notificação </a:t>
            </a:r>
            <a:r>
              <a:rPr lang="pt-BR" sz="2400" dirty="0"/>
              <a:t>e avaliação de eventos </a:t>
            </a:r>
            <a:r>
              <a:rPr lang="pt-BR" sz="2400" dirty="0" smtClean="0"/>
              <a:t>adversos, estudos pós-comercialização)</a:t>
            </a:r>
            <a:endParaRPr lang="pt-BR" sz="2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7" t="11678" r="15546" b="8707"/>
          <a:stretch/>
        </p:blipFill>
        <p:spPr bwMode="auto">
          <a:xfrm>
            <a:off x="9283782" y="2882498"/>
            <a:ext cx="1813621" cy="163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3865" y="4559462"/>
            <a:ext cx="2152650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2924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0768" y="190756"/>
            <a:ext cx="11108724" cy="2086725"/>
          </a:xfrm>
          <a:solidFill>
            <a:srgbClr val="00B0F0"/>
          </a:solidFill>
          <a:ln>
            <a:noFill/>
          </a:ln>
          <a:extLst/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de o farmacêutico usa este conhecimento em nosso dia-a-dia?</a:t>
            </a:r>
            <a:br>
              <a:rPr lang="pt-BR" sz="3600" b="1" cap="none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pt-BR" sz="3600" b="1" cap="none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594416" y="2282326"/>
            <a:ext cx="835957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1133475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 smtClean="0"/>
              <a:t>Avaliação da adesão ao tratamento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 smtClean="0"/>
              <a:t>Análise ABC (custo x quantidade) e XYZ (importância clínica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 smtClean="0"/>
              <a:t>Avaliação do acesso aos medicamento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 smtClean="0"/>
              <a:t>Impacto dos medicamentos no orçamento do governo, das famílias, por exemplo.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46"/>
          <a:stretch/>
        </p:blipFill>
        <p:spPr bwMode="auto">
          <a:xfrm>
            <a:off x="9128221" y="2839809"/>
            <a:ext cx="2522726" cy="304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36385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DCC07B32-2DE1-4A92-BAA9-5DCFDEF6AE5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Freeform 9">
            <a:extLst>
              <a:ext uri="{FF2B5EF4-FFF2-40B4-BE49-F238E27FC236}">
                <a16:creationId xmlns="" xmlns:a16="http://schemas.microsoft.com/office/drawing/2014/main" id="{5275141D-4582-414D-81DB-7A2B47BB5BB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24" y="8"/>
            <a:ext cx="12191978" cy="4571994"/>
          </a:xfrm>
          <a:custGeom>
            <a:avLst/>
            <a:gdLst/>
            <a:ahLst/>
            <a:cxnLst/>
            <a:rect l="l" t="t" r="r" b="b"/>
            <a:pathLst>
              <a:path w="12191978" h="4571994">
                <a:moveTo>
                  <a:pt x="1" y="4316129"/>
                </a:moveTo>
                <a:lnTo>
                  <a:pt x="255863" y="4571991"/>
                </a:lnTo>
                <a:lnTo>
                  <a:pt x="203619" y="4571991"/>
                </a:lnTo>
                <a:lnTo>
                  <a:pt x="1" y="4368373"/>
                </a:lnTo>
                <a:close/>
                <a:moveTo>
                  <a:pt x="12191973" y="4312831"/>
                </a:moveTo>
                <a:lnTo>
                  <a:pt x="12191972" y="4365076"/>
                </a:lnTo>
                <a:lnTo>
                  <a:pt x="11985055" y="4571992"/>
                </a:lnTo>
                <a:lnTo>
                  <a:pt x="11932811" y="4571993"/>
                </a:lnTo>
                <a:close/>
                <a:moveTo>
                  <a:pt x="11817249" y="4076816"/>
                </a:moveTo>
                <a:lnTo>
                  <a:pt x="11928074" y="4076816"/>
                </a:lnTo>
                <a:lnTo>
                  <a:pt x="11928074" y="4187641"/>
                </a:lnTo>
                <a:lnTo>
                  <a:pt x="11817249" y="4187641"/>
                </a:lnTo>
                <a:close/>
                <a:moveTo>
                  <a:pt x="10766437" y="4076816"/>
                </a:moveTo>
                <a:lnTo>
                  <a:pt x="10877262" y="4076816"/>
                </a:lnTo>
                <a:lnTo>
                  <a:pt x="10877262" y="4187641"/>
                </a:lnTo>
                <a:lnTo>
                  <a:pt x="10766437" y="4187641"/>
                </a:lnTo>
                <a:close/>
                <a:moveTo>
                  <a:pt x="9715629" y="4076816"/>
                </a:moveTo>
                <a:lnTo>
                  <a:pt x="9826454" y="4076816"/>
                </a:lnTo>
                <a:lnTo>
                  <a:pt x="9826454" y="4187641"/>
                </a:lnTo>
                <a:lnTo>
                  <a:pt x="9715629" y="4187641"/>
                </a:lnTo>
                <a:close/>
                <a:moveTo>
                  <a:pt x="8664821" y="4076816"/>
                </a:moveTo>
                <a:lnTo>
                  <a:pt x="8775646" y="4076816"/>
                </a:lnTo>
                <a:lnTo>
                  <a:pt x="8775646" y="4187641"/>
                </a:lnTo>
                <a:lnTo>
                  <a:pt x="8664821" y="4187641"/>
                </a:lnTo>
                <a:close/>
                <a:moveTo>
                  <a:pt x="7614013" y="4076816"/>
                </a:moveTo>
                <a:lnTo>
                  <a:pt x="7724838" y="4076816"/>
                </a:lnTo>
                <a:lnTo>
                  <a:pt x="7724838" y="4187641"/>
                </a:lnTo>
                <a:lnTo>
                  <a:pt x="7614013" y="4187641"/>
                </a:lnTo>
                <a:close/>
                <a:moveTo>
                  <a:pt x="6563205" y="4076816"/>
                </a:moveTo>
                <a:lnTo>
                  <a:pt x="6674030" y="4076816"/>
                </a:lnTo>
                <a:lnTo>
                  <a:pt x="6674030" y="4187641"/>
                </a:lnTo>
                <a:lnTo>
                  <a:pt x="6563205" y="4187641"/>
                </a:lnTo>
                <a:close/>
                <a:moveTo>
                  <a:pt x="5512397" y="4076816"/>
                </a:moveTo>
                <a:lnTo>
                  <a:pt x="5623222" y="4076816"/>
                </a:lnTo>
                <a:lnTo>
                  <a:pt x="5623222" y="4187641"/>
                </a:lnTo>
                <a:lnTo>
                  <a:pt x="5512397" y="4187641"/>
                </a:lnTo>
                <a:close/>
                <a:moveTo>
                  <a:pt x="4461589" y="4076816"/>
                </a:moveTo>
                <a:lnTo>
                  <a:pt x="4572414" y="4076816"/>
                </a:lnTo>
                <a:lnTo>
                  <a:pt x="4572414" y="4187641"/>
                </a:lnTo>
                <a:lnTo>
                  <a:pt x="4461589" y="4187641"/>
                </a:lnTo>
                <a:close/>
                <a:moveTo>
                  <a:pt x="3410782" y="4076816"/>
                </a:moveTo>
                <a:lnTo>
                  <a:pt x="3521608" y="4076816"/>
                </a:lnTo>
                <a:lnTo>
                  <a:pt x="3521608" y="4187641"/>
                </a:lnTo>
                <a:lnTo>
                  <a:pt x="3410782" y="4187641"/>
                </a:lnTo>
                <a:close/>
                <a:moveTo>
                  <a:pt x="2359975" y="4076816"/>
                </a:moveTo>
                <a:lnTo>
                  <a:pt x="2470800" y="4076816"/>
                </a:lnTo>
                <a:lnTo>
                  <a:pt x="2470800" y="4187641"/>
                </a:lnTo>
                <a:lnTo>
                  <a:pt x="2359975" y="4187641"/>
                </a:lnTo>
                <a:close/>
                <a:moveTo>
                  <a:pt x="1309167" y="4076816"/>
                </a:moveTo>
                <a:lnTo>
                  <a:pt x="1419992" y="4076816"/>
                </a:lnTo>
                <a:lnTo>
                  <a:pt x="1419992" y="4187641"/>
                </a:lnTo>
                <a:lnTo>
                  <a:pt x="1309167" y="4187641"/>
                </a:lnTo>
                <a:close/>
                <a:moveTo>
                  <a:pt x="258359" y="4076816"/>
                </a:moveTo>
                <a:lnTo>
                  <a:pt x="369184" y="4076816"/>
                </a:lnTo>
                <a:lnTo>
                  <a:pt x="369184" y="4187641"/>
                </a:lnTo>
                <a:lnTo>
                  <a:pt x="258359" y="4187641"/>
                </a:lnTo>
                <a:close/>
                <a:moveTo>
                  <a:pt x="11291841" y="3551209"/>
                </a:moveTo>
                <a:lnTo>
                  <a:pt x="11402666" y="3551209"/>
                </a:lnTo>
                <a:lnTo>
                  <a:pt x="11402666" y="3662034"/>
                </a:lnTo>
                <a:lnTo>
                  <a:pt x="11291841" y="3662034"/>
                </a:lnTo>
                <a:close/>
                <a:moveTo>
                  <a:pt x="10241033" y="3551209"/>
                </a:moveTo>
                <a:lnTo>
                  <a:pt x="10351858" y="3551209"/>
                </a:lnTo>
                <a:lnTo>
                  <a:pt x="10351858" y="3662034"/>
                </a:lnTo>
                <a:lnTo>
                  <a:pt x="10241033" y="3662034"/>
                </a:lnTo>
                <a:close/>
                <a:moveTo>
                  <a:pt x="9190225" y="3551209"/>
                </a:moveTo>
                <a:lnTo>
                  <a:pt x="9301050" y="3551209"/>
                </a:lnTo>
                <a:lnTo>
                  <a:pt x="9301050" y="3662034"/>
                </a:lnTo>
                <a:lnTo>
                  <a:pt x="9190225" y="3662034"/>
                </a:lnTo>
                <a:close/>
                <a:moveTo>
                  <a:pt x="8139417" y="3551209"/>
                </a:moveTo>
                <a:lnTo>
                  <a:pt x="8250242" y="3551209"/>
                </a:lnTo>
                <a:lnTo>
                  <a:pt x="8250242" y="3662034"/>
                </a:lnTo>
                <a:lnTo>
                  <a:pt x="8139417" y="3662034"/>
                </a:lnTo>
                <a:close/>
                <a:moveTo>
                  <a:pt x="7088609" y="3551209"/>
                </a:moveTo>
                <a:lnTo>
                  <a:pt x="7199434" y="3551209"/>
                </a:lnTo>
                <a:lnTo>
                  <a:pt x="7199434" y="3662034"/>
                </a:lnTo>
                <a:lnTo>
                  <a:pt x="7088609" y="3662034"/>
                </a:lnTo>
                <a:close/>
                <a:moveTo>
                  <a:pt x="6037801" y="3551209"/>
                </a:moveTo>
                <a:lnTo>
                  <a:pt x="6148626" y="3551209"/>
                </a:lnTo>
                <a:lnTo>
                  <a:pt x="6148626" y="3662034"/>
                </a:lnTo>
                <a:lnTo>
                  <a:pt x="6037801" y="3662034"/>
                </a:lnTo>
                <a:close/>
                <a:moveTo>
                  <a:pt x="4986998" y="3551209"/>
                </a:moveTo>
                <a:lnTo>
                  <a:pt x="5097826" y="3551209"/>
                </a:lnTo>
                <a:lnTo>
                  <a:pt x="5097826" y="3662034"/>
                </a:lnTo>
                <a:lnTo>
                  <a:pt x="4986998" y="3662034"/>
                </a:lnTo>
                <a:close/>
                <a:moveTo>
                  <a:pt x="3936196" y="3551209"/>
                </a:moveTo>
                <a:lnTo>
                  <a:pt x="4047020" y="3551209"/>
                </a:lnTo>
                <a:lnTo>
                  <a:pt x="4047020" y="3662034"/>
                </a:lnTo>
                <a:lnTo>
                  <a:pt x="3936196" y="3662034"/>
                </a:lnTo>
                <a:close/>
                <a:moveTo>
                  <a:pt x="2885389" y="3551209"/>
                </a:moveTo>
                <a:lnTo>
                  <a:pt x="2996214" y="3551209"/>
                </a:lnTo>
                <a:lnTo>
                  <a:pt x="2996214" y="3662034"/>
                </a:lnTo>
                <a:lnTo>
                  <a:pt x="2885389" y="3662034"/>
                </a:lnTo>
                <a:close/>
                <a:moveTo>
                  <a:pt x="1834579" y="3551209"/>
                </a:moveTo>
                <a:lnTo>
                  <a:pt x="1945404" y="3551209"/>
                </a:lnTo>
                <a:lnTo>
                  <a:pt x="1945404" y="3662034"/>
                </a:lnTo>
                <a:lnTo>
                  <a:pt x="1834579" y="3662034"/>
                </a:lnTo>
                <a:close/>
                <a:moveTo>
                  <a:pt x="783773" y="3551209"/>
                </a:moveTo>
                <a:lnTo>
                  <a:pt x="894598" y="3551209"/>
                </a:lnTo>
                <a:lnTo>
                  <a:pt x="894598" y="3662034"/>
                </a:lnTo>
                <a:lnTo>
                  <a:pt x="783773" y="3662034"/>
                </a:lnTo>
                <a:close/>
                <a:moveTo>
                  <a:pt x="2942310" y="3107960"/>
                </a:moveTo>
                <a:lnTo>
                  <a:pt x="2470811" y="3579460"/>
                </a:lnTo>
                <a:lnTo>
                  <a:pt x="2470811" y="3634896"/>
                </a:lnTo>
                <a:lnTo>
                  <a:pt x="2942311" y="4106397"/>
                </a:lnTo>
                <a:lnTo>
                  <a:pt x="3410794" y="3637915"/>
                </a:lnTo>
                <a:lnTo>
                  <a:pt x="3410794" y="3576442"/>
                </a:lnTo>
                <a:close/>
                <a:moveTo>
                  <a:pt x="840944" y="3107960"/>
                </a:moveTo>
                <a:lnTo>
                  <a:pt x="369194" y="3579710"/>
                </a:lnTo>
                <a:lnTo>
                  <a:pt x="369194" y="3634648"/>
                </a:lnTo>
                <a:lnTo>
                  <a:pt x="840944" y="4106399"/>
                </a:lnTo>
                <a:lnTo>
                  <a:pt x="1309176" y="3638165"/>
                </a:lnTo>
                <a:lnTo>
                  <a:pt x="1309176" y="3576193"/>
                </a:lnTo>
                <a:close/>
                <a:moveTo>
                  <a:pt x="3992986" y="3107959"/>
                </a:moveTo>
                <a:lnTo>
                  <a:pt x="3521621" y="3579335"/>
                </a:lnTo>
                <a:lnTo>
                  <a:pt x="3521621" y="3635021"/>
                </a:lnTo>
                <a:lnTo>
                  <a:pt x="3992986" y="4106398"/>
                </a:lnTo>
                <a:lnTo>
                  <a:pt x="4461593" y="3637778"/>
                </a:lnTo>
                <a:lnTo>
                  <a:pt x="4461593" y="3576578"/>
                </a:lnTo>
                <a:close/>
                <a:moveTo>
                  <a:pt x="1891624" y="3107959"/>
                </a:moveTo>
                <a:lnTo>
                  <a:pt x="1420001" y="3579584"/>
                </a:lnTo>
                <a:lnTo>
                  <a:pt x="1420001" y="3634774"/>
                </a:lnTo>
                <a:lnTo>
                  <a:pt x="1891623" y="4106397"/>
                </a:lnTo>
                <a:lnTo>
                  <a:pt x="2359987" y="3638040"/>
                </a:lnTo>
                <a:lnTo>
                  <a:pt x="2359987" y="3576315"/>
                </a:lnTo>
                <a:close/>
                <a:moveTo>
                  <a:pt x="8195689" y="3107959"/>
                </a:moveTo>
                <a:lnTo>
                  <a:pt x="7724838" y="3578810"/>
                </a:lnTo>
                <a:lnTo>
                  <a:pt x="7724838" y="3635541"/>
                </a:lnTo>
                <a:lnTo>
                  <a:pt x="8195691" y="4106395"/>
                </a:lnTo>
                <a:lnTo>
                  <a:pt x="8664821" y="3637265"/>
                </a:lnTo>
                <a:lnTo>
                  <a:pt x="8664821" y="3577091"/>
                </a:lnTo>
                <a:close/>
                <a:moveTo>
                  <a:pt x="5043664" y="3107959"/>
                </a:moveTo>
                <a:lnTo>
                  <a:pt x="4572419" y="3579197"/>
                </a:lnTo>
                <a:lnTo>
                  <a:pt x="4572419" y="3635159"/>
                </a:lnTo>
                <a:lnTo>
                  <a:pt x="5043662" y="4106396"/>
                </a:lnTo>
                <a:lnTo>
                  <a:pt x="5512402" y="3637650"/>
                </a:lnTo>
                <a:lnTo>
                  <a:pt x="5512402" y="3576704"/>
                </a:lnTo>
                <a:close/>
                <a:moveTo>
                  <a:pt x="6094326" y="3107958"/>
                </a:moveTo>
                <a:lnTo>
                  <a:pt x="5623226" y="3579070"/>
                </a:lnTo>
                <a:lnTo>
                  <a:pt x="5623226" y="3635285"/>
                </a:lnTo>
                <a:lnTo>
                  <a:pt x="6094326" y="4106397"/>
                </a:lnTo>
                <a:lnTo>
                  <a:pt x="6563205" y="3637518"/>
                </a:lnTo>
                <a:lnTo>
                  <a:pt x="6563205" y="3576837"/>
                </a:lnTo>
                <a:close/>
                <a:moveTo>
                  <a:pt x="9246372" y="3107957"/>
                </a:moveTo>
                <a:lnTo>
                  <a:pt x="8775646" y="3578683"/>
                </a:lnTo>
                <a:lnTo>
                  <a:pt x="8775646" y="3635671"/>
                </a:lnTo>
                <a:lnTo>
                  <a:pt x="9246369" y="4106395"/>
                </a:lnTo>
                <a:lnTo>
                  <a:pt x="9715629" y="3637135"/>
                </a:lnTo>
                <a:lnTo>
                  <a:pt x="9715629" y="3577215"/>
                </a:lnTo>
                <a:close/>
                <a:moveTo>
                  <a:pt x="7145009" y="3107957"/>
                </a:moveTo>
                <a:lnTo>
                  <a:pt x="6674030" y="3578936"/>
                </a:lnTo>
                <a:lnTo>
                  <a:pt x="6674030" y="3635418"/>
                </a:lnTo>
                <a:lnTo>
                  <a:pt x="7145007" y="4106396"/>
                </a:lnTo>
                <a:lnTo>
                  <a:pt x="7614013" y="3637390"/>
                </a:lnTo>
                <a:lnTo>
                  <a:pt x="7614013" y="3576961"/>
                </a:lnTo>
                <a:close/>
                <a:moveTo>
                  <a:pt x="11347734" y="3107957"/>
                </a:moveTo>
                <a:lnTo>
                  <a:pt x="10877262" y="3578428"/>
                </a:lnTo>
                <a:lnTo>
                  <a:pt x="10877262" y="3635922"/>
                </a:lnTo>
                <a:lnTo>
                  <a:pt x="11347735" y="4106396"/>
                </a:lnTo>
                <a:lnTo>
                  <a:pt x="11817249" y="3636882"/>
                </a:lnTo>
                <a:lnTo>
                  <a:pt x="11817249" y="3577472"/>
                </a:lnTo>
                <a:close/>
                <a:moveTo>
                  <a:pt x="10297053" y="3107955"/>
                </a:moveTo>
                <a:lnTo>
                  <a:pt x="9826454" y="3578554"/>
                </a:lnTo>
                <a:lnTo>
                  <a:pt x="9826454" y="3635794"/>
                </a:lnTo>
                <a:lnTo>
                  <a:pt x="10297054" y="4106394"/>
                </a:lnTo>
                <a:lnTo>
                  <a:pt x="10766437" y="3637011"/>
                </a:lnTo>
                <a:lnTo>
                  <a:pt x="10766437" y="3577339"/>
                </a:lnTo>
                <a:close/>
                <a:moveTo>
                  <a:pt x="11817249" y="3027334"/>
                </a:moveTo>
                <a:lnTo>
                  <a:pt x="11928074" y="3027334"/>
                </a:lnTo>
                <a:lnTo>
                  <a:pt x="11928074" y="3138159"/>
                </a:lnTo>
                <a:lnTo>
                  <a:pt x="11817249" y="3138159"/>
                </a:lnTo>
                <a:close/>
                <a:moveTo>
                  <a:pt x="10766437" y="3027334"/>
                </a:moveTo>
                <a:lnTo>
                  <a:pt x="10877262" y="3027334"/>
                </a:lnTo>
                <a:lnTo>
                  <a:pt x="10877262" y="3138159"/>
                </a:lnTo>
                <a:lnTo>
                  <a:pt x="10766437" y="3138159"/>
                </a:lnTo>
                <a:close/>
                <a:moveTo>
                  <a:pt x="9715629" y="3027334"/>
                </a:moveTo>
                <a:lnTo>
                  <a:pt x="9826454" y="3027334"/>
                </a:lnTo>
                <a:lnTo>
                  <a:pt x="9826454" y="3138159"/>
                </a:lnTo>
                <a:lnTo>
                  <a:pt x="9715629" y="3138159"/>
                </a:lnTo>
                <a:close/>
                <a:moveTo>
                  <a:pt x="8664821" y="3027334"/>
                </a:moveTo>
                <a:lnTo>
                  <a:pt x="8775646" y="3027334"/>
                </a:lnTo>
                <a:lnTo>
                  <a:pt x="8775646" y="3138159"/>
                </a:lnTo>
                <a:lnTo>
                  <a:pt x="8664821" y="3138159"/>
                </a:lnTo>
                <a:close/>
                <a:moveTo>
                  <a:pt x="7614013" y="3027334"/>
                </a:moveTo>
                <a:lnTo>
                  <a:pt x="7724838" y="3027334"/>
                </a:lnTo>
                <a:lnTo>
                  <a:pt x="7724838" y="3138159"/>
                </a:lnTo>
                <a:lnTo>
                  <a:pt x="7614013" y="3138159"/>
                </a:lnTo>
                <a:close/>
                <a:moveTo>
                  <a:pt x="6563205" y="3027334"/>
                </a:moveTo>
                <a:lnTo>
                  <a:pt x="6674030" y="3027334"/>
                </a:lnTo>
                <a:lnTo>
                  <a:pt x="6674030" y="3138159"/>
                </a:lnTo>
                <a:lnTo>
                  <a:pt x="6563205" y="3138159"/>
                </a:lnTo>
                <a:close/>
                <a:moveTo>
                  <a:pt x="5512400" y="3027334"/>
                </a:moveTo>
                <a:lnTo>
                  <a:pt x="5623225" y="3027334"/>
                </a:lnTo>
                <a:lnTo>
                  <a:pt x="5623225" y="3138159"/>
                </a:lnTo>
                <a:lnTo>
                  <a:pt x="5512400" y="3138159"/>
                </a:lnTo>
                <a:close/>
                <a:moveTo>
                  <a:pt x="4461592" y="3027334"/>
                </a:moveTo>
                <a:lnTo>
                  <a:pt x="4572417" y="3027334"/>
                </a:lnTo>
                <a:lnTo>
                  <a:pt x="4572417" y="3138159"/>
                </a:lnTo>
                <a:lnTo>
                  <a:pt x="4461592" y="3138159"/>
                </a:lnTo>
                <a:close/>
                <a:moveTo>
                  <a:pt x="3410790" y="3027334"/>
                </a:moveTo>
                <a:lnTo>
                  <a:pt x="3521616" y="3027334"/>
                </a:lnTo>
                <a:lnTo>
                  <a:pt x="3521616" y="3138159"/>
                </a:lnTo>
                <a:lnTo>
                  <a:pt x="3410790" y="3138159"/>
                </a:lnTo>
                <a:close/>
                <a:moveTo>
                  <a:pt x="2359982" y="3027334"/>
                </a:moveTo>
                <a:lnTo>
                  <a:pt x="2470807" y="3027334"/>
                </a:lnTo>
                <a:lnTo>
                  <a:pt x="2470807" y="3138159"/>
                </a:lnTo>
                <a:lnTo>
                  <a:pt x="2359982" y="3138159"/>
                </a:lnTo>
                <a:close/>
                <a:moveTo>
                  <a:pt x="1309173" y="3027334"/>
                </a:moveTo>
                <a:lnTo>
                  <a:pt x="1419997" y="3027334"/>
                </a:lnTo>
                <a:lnTo>
                  <a:pt x="1419997" y="3138159"/>
                </a:lnTo>
                <a:lnTo>
                  <a:pt x="1309173" y="3138159"/>
                </a:lnTo>
                <a:close/>
                <a:moveTo>
                  <a:pt x="258365" y="3027334"/>
                </a:moveTo>
                <a:lnTo>
                  <a:pt x="369190" y="3027334"/>
                </a:lnTo>
                <a:lnTo>
                  <a:pt x="369190" y="3138159"/>
                </a:lnTo>
                <a:lnTo>
                  <a:pt x="258365" y="3138159"/>
                </a:lnTo>
                <a:close/>
                <a:moveTo>
                  <a:pt x="10794114" y="2610895"/>
                </a:moveTo>
                <a:lnTo>
                  <a:pt x="10323174" y="3081834"/>
                </a:lnTo>
                <a:lnTo>
                  <a:pt x="10792548" y="3551209"/>
                </a:lnTo>
                <a:lnTo>
                  <a:pt x="10852239" y="3551209"/>
                </a:lnTo>
                <a:lnTo>
                  <a:pt x="11321612" y="3081835"/>
                </a:lnTo>
                <a:lnTo>
                  <a:pt x="10850672" y="2610895"/>
                </a:lnTo>
                <a:close/>
                <a:moveTo>
                  <a:pt x="9743434" y="2610895"/>
                </a:moveTo>
                <a:lnTo>
                  <a:pt x="9272494" y="3081834"/>
                </a:lnTo>
                <a:lnTo>
                  <a:pt x="9741869" y="3551209"/>
                </a:lnTo>
                <a:lnTo>
                  <a:pt x="9801555" y="3551209"/>
                </a:lnTo>
                <a:lnTo>
                  <a:pt x="10270931" y="3081833"/>
                </a:lnTo>
                <a:lnTo>
                  <a:pt x="9799992" y="2610895"/>
                </a:lnTo>
                <a:close/>
                <a:moveTo>
                  <a:pt x="8692754" y="2610895"/>
                </a:moveTo>
                <a:lnTo>
                  <a:pt x="8221811" y="3081837"/>
                </a:lnTo>
                <a:lnTo>
                  <a:pt x="8691183" y="3551209"/>
                </a:lnTo>
                <a:lnTo>
                  <a:pt x="8750876" y="3551209"/>
                </a:lnTo>
                <a:lnTo>
                  <a:pt x="9220250" y="3081835"/>
                </a:lnTo>
                <a:lnTo>
                  <a:pt x="8749310" y="2610895"/>
                </a:lnTo>
                <a:close/>
                <a:moveTo>
                  <a:pt x="7642070" y="2610895"/>
                </a:moveTo>
                <a:lnTo>
                  <a:pt x="7171131" y="3081835"/>
                </a:lnTo>
                <a:lnTo>
                  <a:pt x="7640505" y="3551209"/>
                </a:lnTo>
                <a:lnTo>
                  <a:pt x="7700194" y="3551209"/>
                </a:lnTo>
                <a:lnTo>
                  <a:pt x="8169567" y="3081836"/>
                </a:lnTo>
                <a:lnTo>
                  <a:pt x="7698625" y="2610895"/>
                </a:lnTo>
                <a:close/>
                <a:moveTo>
                  <a:pt x="6591389" y="2610895"/>
                </a:moveTo>
                <a:lnTo>
                  <a:pt x="6120448" y="3081836"/>
                </a:lnTo>
                <a:lnTo>
                  <a:pt x="6589820" y="3551209"/>
                </a:lnTo>
                <a:lnTo>
                  <a:pt x="6649514" y="3551209"/>
                </a:lnTo>
                <a:lnTo>
                  <a:pt x="7118887" y="3081836"/>
                </a:lnTo>
                <a:lnTo>
                  <a:pt x="6647947" y="2610895"/>
                </a:lnTo>
                <a:close/>
                <a:moveTo>
                  <a:pt x="5540722" y="2610895"/>
                </a:moveTo>
                <a:lnTo>
                  <a:pt x="5069790" y="3081837"/>
                </a:lnTo>
                <a:lnTo>
                  <a:pt x="5539152" y="3551209"/>
                </a:lnTo>
                <a:lnTo>
                  <a:pt x="5598843" y="3551209"/>
                </a:lnTo>
                <a:lnTo>
                  <a:pt x="6068204" y="3081836"/>
                </a:lnTo>
                <a:lnTo>
                  <a:pt x="5597274" y="2610895"/>
                </a:lnTo>
                <a:close/>
                <a:moveTo>
                  <a:pt x="4490039" y="2610895"/>
                </a:moveTo>
                <a:lnTo>
                  <a:pt x="4019108" y="3081837"/>
                </a:lnTo>
                <a:lnTo>
                  <a:pt x="4488467" y="3551209"/>
                </a:lnTo>
                <a:lnTo>
                  <a:pt x="4548162" y="3551209"/>
                </a:lnTo>
                <a:lnTo>
                  <a:pt x="5017539" y="3081837"/>
                </a:lnTo>
                <a:lnTo>
                  <a:pt x="4546591" y="2610895"/>
                </a:lnTo>
                <a:close/>
                <a:moveTo>
                  <a:pt x="3439377" y="2610895"/>
                </a:moveTo>
                <a:lnTo>
                  <a:pt x="2968431" y="3081838"/>
                </a:lnTo>
                <a:lnTo>
                  <a:pt x="3437805" y="3551209"/>
                </a:lnTo>
                <a:lnTo>
                  <a:pt x="3497502" y="3551209"/>
                </a:lnTo>
                <a:lnTo>
                  <a:pt x="3966864" y="3081837"/>
                </a:lnTo>
                <a:lnTo>
                  <a:pt x="3495931" y="2610895"/>
                </a:lnTo>
                <a:close/>
                <a:moveTo>
                  <a:pt x="2388695" y="2610895"/>
                </a:moveTo>
                <a:lnTo>
                  <a:pt x="1917746" y="3081837"/>
                </a:lnTo>
                <a:lnTo>
                  <a:pt x="2387125" y="3551209"/>
                </a:lnTo>
                <a:lnTo>
                  <a:pt x="2446819" y="3551209"/>
                </a:lnTo>
                <a:lnTo>
                  <a:pt x="2916188" y="3081838"/>
                </a:lnTo>
                <a:lnTo>
                  <a:pt x="2445246" y="2610895"/>
                </a:lnTo>
                <a:close/>
                <a:moveTo>
                  <a:pt x="1338007" y="2610895"/>
                </a:moveTo>
                <a:lnTo>
                  <a:pt x="867066" y="3081838"/>
                </a:lnTo>
                <a:lnTo>
                  <a:pt x="1336436" y="3551209"/>
                </a:lnTo>
                <a:lnTo>
                  <a:pt x="1396132" y="3551209"/>
                </a:lnTo>
                <a:lnTo>
                  <a:pt x="1865502" y="3081837"/>
                </a:lnTo>
                <a:lnTo>
                  <a:pt x="1394561" y="2610895"/>
                </a:lnTo>
                <a:close/>
                <a:moveTo>
                  <a:pt x="11291841" y="2500070"/>
                </a:moveTo>
                <a:lnTo>
                  <a:pt x="11402666" y="2500070"/>
                </a:lnTo>
                <a:lnTo>
                  <a:pt x="11402666" y="2610895"/>
                </a:lnTo>
                <a:lnTo>
                  <a:pt x="11291841" y="2610895"/>
                </a:lnTo>
                <a:close/>
                <a:moveTo>
                  <a:pt x="10241033" y="2500070"/>
                </a:moveTo>
                <a:lnTo>
                  <a:pt x="10351858" y="2500070"/>
                </a:lnTo>
                <a:lnTo>
                  <a:pt x="10351858" y="2610895"/>
                </a:lnTo>
                <a:lnTo>
                  <a:pt x="10241033" y="2610895"/>
                </a:lnTo>
                <a:close/>
                <a:moveTo>
                  <a:pt x="9190225" y="2500070"/>
                </a:moveTo>
                <a:lnTo>
                  <a:pt x="9301050" y="2500070"/>
                </a:lnTo>
                <a:lnTo>
                  <a:pt x="9301050" y="2610895"/>
                </a:lnTo>
                <a:lnTo>
                  <a:pt x="9190225" y="2610895"/>
                </a:lnTo>
                <a:close/>
                <a:moveTo>
                  <a:pt x="8139417" y="2500070"/>
                </a:moveTo>
                <a:lnTo>
                  <a:pt x="8250242" y="2500070"/>
                </a:lnTo>
                <a:lnTo>
                  <a:pt x="8250242" y="2610895"/>
                </a:lnTo>
                <a:lnTo>
                  <a:pt x="8139417" y="2610895"/>
                </a:lnTo>
                <a:close/>
                <a:moveTo>
                  <a:pt x="7088609" y="2500070"/>
                </a:moveTo>
                <a:lnTo>
                  <a:pt x="7199434" y="2500070"/>
                </a:lnTo>
                <a:lnTo>
                  <a:pt x="7199434" y="2610895"/>
                </a:lnTo>
                <a:lnTo>
                  <a:pt x="7088609" y="2610895"/>
                </a:lnTo>
                <a:close/>
                <a:moveTo>
                  <a:pt x="6037801" y="2500070"/>
                </a:moveTo>
                <a:lnTo>
                  <a:pt x="6148626" y="2500070"/>
                </a:lnTo>
                <a:lnTo>
                  <a:pt x="6148626" y="2610895"/>
                </a:lnTo>
                <a:lnTo>
                  <a:pt x="6037801" y="2610895"/>
                </a:lnTo>
                <a:close/>
                <a:moveTo>
                  <a:pt x="4987000" y="2500070"/>
                </a:moveTo>
                <a:lnTo>
                  <a:pt x="5097829" y="2500070"/>
                </a:lnTo>
                <a:lnTo>
                  <a:pt x="5097829" y="2610895"/>
                </a:lnTo>
                <a:lnTo>
                  <a:pt x="4987000" y="2610895"/>
                </a:lnTo>
                <a:close/>
                <a:moveTo>
                  <a:pt x="3936200" y="2500070"/>
                </a:moveTo>
                <a:lnTo>
                  <a:pt x="4047024" y="2500070"/>
                </a:lnTo>
                <a:lnTo>
                  <a:pt x="4047024" y="2610895"/>
                </a:lnTo>
                <a:lnTo>
                  <a:pt x="3936200" y="2610895"/>
                </a:lnTo>
                <a:close/>
                <a:moveTo>
                  <a:pt x="2885393" y="2500070"/>
                </a:moveTo>
                <a:lnTo>
                  <a:pt x="2996218" y="2500070"/>
                </a:lnTo>
                <a:lnTo>
                  <a:pt x="2996218" y="2610895"/>
                </a:lnTo>
                <a:lnTo>
                  <a:pt x="2885393" y="2610895"/>
                </a:lnTo>
                <a:close/>
                <a:moveTo>
                  <a:pt x="1834583" y="2500070"/>
                </a:moveTo>
                <a:lnTo>
                  <a:pt x="1945408" y="2500070"/>
                </a:lnTo>
                <a:lnTo>
                  <a:pt x="1945408" y="2610895"/>
                </a:lnTo>
                <a:lnTo>
                  <a:pt x="1834583" y="2610895"/>
                </a:lnTo>
                <a:close/>
                <a:moveTo>
                  <a:pt x="783777" y="2500070"/>
                </a:moveTo>
                <a:lnTo>
                  <a:pt x="894602" y="2500070"/>
                </a:lnTo>
                <a:lnTo>
                  <a:pt x="894602" y="2610895"/>
                </a:lnTo>
                <a:lnTo>
                  <a:pt x="783777" y="2610895"/>
                </a:lnTo>
                <a:close/>
                <a:moveTo>
                  <a:pt x="1891623" y="2057291"/>
                </a:moveTo>
                <a:lnTo>
                  <a:pt x="1420005" y="2528898"/>
                </a:lnTo>
                <a:lnTo>
                  <a:pt x="1420005" y="2584095"/>
                </a:lnTo>
                <a:lnTo>
                  <a:pt x="1891624" y="3055715"/>
                </a:lnTo>
                <a:lnTo>
                  <a:pt x="2359991" y="2587356"/>
                </a:lnTo>
                <a:lnTo>
                  <a:pt x="2359991" y="2525640"/>
                </a:lnTo>
                <a:close/>
                <a:moveTo>
                  <a:pt x="2942310" y="2057291"/>
                </a:moveTo>
                <a:lnTo>
                  <a:pt x="2470816" y="2528774"/>
                </a:lnTo>
                <a:lnTo>
                  <a:pt x="2470816" y="2584221"/>
                </a:lnTo>
                <a:lnTo>
                  <a:pt x="2942310" y="3055716"/>
                </a:lnTo>
                <a:lnTo>
                  <a:pt x="3410799" y="2587229"/>
                </a:lnTo>
                <a:lnTo>
                  <a:pt x="3410799" y="2525765"/>
                </a:lnTo>
                <a:close/>
                <a:moveTo>
                  <a:pt x="3992986" y="2057290"/>
                </a:moveTo>
                <a:lnTo>
                  <a:pt x="3521627" y="2528649"/>
                </a:lnTo>
                <a:lnTo>
                  <a:pt x="3521627" y="2584345"/>
                </a:lnTo>
                <a:lnTo>
                  <a:pt x="3992986" y="3055715"/>
                </a:lnTo>
                <a:lnTo>
                  <a:pt x="4461596" y="2587094"/>
                </a:lnTo>
                <a:lnTo>
                  <a:pt x="4461596" y="2525899"/>
                </a:lnTo>
                <a:close/>
                <a:moveTo>
                  <a:pt x="840944" y="2057289"/>
                </a:moveTo>
                <a:lnTo>
                  <a:pt x="369198" y="2529024"/>
                </a:lnTo>
                <a:lnTo>
                  <a:pt x="369198" y="2583969"/>
                </a:lnTo>
                <a:lnTo>
                  <a:pt x="840944" y="3055716"/>
                </a:lnTo>
                <a:lnTo>
                  <a:pt x="1309180" y="2587479"/>
                </a:lnTo>
                <a:lnTo>
                  <a:pt x="1309180" y="2525514"/>
                </a:lnTo>
                <a:close/>
                <a:moveTo>
                  <a:pt x="7145007" y="2057289"/>
                </a:moveTo>
                <a:lnTo>
                  <a:pt x="6674030" y="2528255"/>
                </a:lnTo>
                <a:lnTo>
                  <a:pt x="6674030" y="2584733"/>
                </a:lnTo>
                <a:lnTo>
                  <a:pt x="7145010" y="3055713"/>
                </a:lnTo>
                <a:lnTo>
                  <a:pt x="7614013" y="2586710"/>
                </a:lnTo>
                <a:lnTo>
                  <a:pt x="7614013" y="2526283"/>
                </a:lnTo>
                <a:close/>
                <a:moveTo>
                  <a:pt x="5043664" y="2057289"/>
                </a:moveTo>
                <a:lnTo>
                  <a:pt x="4572421" y="2528513"/>
                </a:lnTo>
                <a:lnTo>
                  <a:pt x="4572421" y="2584480"/>
                </a:lnTo>
                <a:lnTo>
                  <a:pt x="5043664" y="3055715"/>
                </a:lnTo>
                <a:lnTo>
                  <a:pt x="5512404" y="2586968"/>
                </a:lnTo>
                <a:lnTo>
                  <a:pt x="5512404" y="2526024"/>
                </a:lnTo>
                <a:close/>
                <a:moveTo>
                  <a:pt x="10297053" y="2057288"/>
                </a:moveTo>
                <a:lnTo>
                  <a:pt x="9826454" y="2527875"/>
                </a:lnTo>
                <a:lnTo>
                  <a:pt x="9826454" y="2585115"/>
                </a:lnTo>
                <a:lnTo>
                  <a:pt x="10297052" y="3055713"/>
                </a:lnTo>
                <a:lnTo>
                  <a:pt x="10766437" y="2586328"/>
                </a:lnTo>
                <a:lnTo>
                  <a:pt x="10766437" y="2526660"/>
                </a:lnTo>
                <a:close/>
                <a:moveTo>
                  <a:pt x="9246373" y="2057288"/>
                </a:moveTo>
                <a:lnTo>
                  <a:pt x="8775646" y="2528002"/>
                </a:lnTo>
                <a:lnTo>
                  <a:pt x="8775646" y="2584986"/>
                </a:lnTo>
                <a:lnTo>
                  <a:pt x="9246373" y="3055713"/>
                </a:lnTo>
                <a:lnTo>
                  <a:pt x="9715629" y="2586457"/>
                </a:lnTo>
                <a:lnTo>
                  <a:pt x="9715629" y="2526532"/>
                </a:lnTo>
                <a:close/>
                <a:moveTo>
                  <a:pt x="8195690" y="2057288"/>
                </a:moveTo>
                <a:lnTo>
                  <a:pt x="7724838" y="2528128"/>
                </a:lnTo>
                <a:lnTo>
                  <a:pt x="7724838" y="2584864"/>
                </a:lnTo>
                <a:lnTo>
                  <a:pt x="8195689" y="3055714"/>
                </a:lnTo>
                <a:lnTo>
                  <a:pt x="8664821" y="2586582"/>
                </a:lnTo>
                <a:lnTo>
                  <a:pt x="8664821" y="2526406"/>
                </a:lnTo>
                <a:close/>
                <a:moveTo>
                  <a:pt x="6094328" y="2057287"/>
                </a:moveTo>
                <a:lnTo>
                  <a:pt x="5623228" y="2528386"/>
                </a:lnTo>
                <a:lnTo>
                  <a:pt x="5623228" y="2584606"/>
                </a:lnTo>
                <a:lnTo>
                  <a:pt x="6094325" y="3055714"/>
                </a:lnTo>
                <a:lnTo>
                  <a:pt x="6563205" y="2586835"/>
                </a:lnTo>
                <a:lnTo>
                  <a:pt x="6563205" y="2526153"/>
                </a:lnTo>
                <a:close/>
                <a:moveTo>
                  <a:pt x="11347736" y="2057286"/>
                </a:moveTo>
                <a:lnTo>
                  <a:pt x="10877262" y="2527747"/>
                </a:lnTo>
                <a:lnTo>
                  <a:pt x="10877262" y="2585241"/>
                </a:lnTo>
                <a:lnTo>
                  <a:pt x="11347734" y="3055713"/>
                </a:lnTo>
                <a:lnTo>
                  <a:pt x="11817249" y="2586199"/>
                </a:lnTo>
                <a:lnTo>
                  <a:pt x="11817249" y="2526787"/>
                </a:lnTo>
                <a:close/>
                <a:moveTo>
                  <a:pt x="258363" y="1973449"/>
                </a:moveTo>
                <a:lnTo>
                  <a:pt x="369188" y="1973449"/>
                </a:lnTo>
                <a:lnTo>
                  <a:pt x="369188" y="2084274"/>
                </a:lnTo>
                <a:lnTo>
                  <a:pt x="258363" y="2084274"/>
                </a:lnTo>
                <a:close/>
                <a:moveTo>
                  <a:pt x="2359980" y="1973449"/>
                </a:moveTo>
                <a:lnTo>
                  <a:pt x="2470805" y="1973449"/>
                </a:lnTo>
                <a:lnTo>
                  <a:pt x="2470805" y="2084274"/>
                </a:lnTo>
                <a:lnTo>
                  <a:pt x="2359980" y="2084274"/>
                </a:lnTo>
                <a:close/>
                <a:moveTo>
                  <a:pt x="1309171" y="1973449"/>
                </a:moveTo>
                <a:lnTo>
                  <a:pt x="1419995" y="1973449"/>
                </a:lnTo>
                <a:lnTo>
                  <a:pt x="1419995" y="2084274"/>
                </a:lnTo>
                <a:lnTo>
                  <a:pt x="1309171" y="2084274"/>
                </a:lnTo>
                <a:close/>
                <a:moveTo>
                  <a:pt x="4461591" y="1973448"/>
                </a:moveTo>
                <a:lnTo>
                  <a:pt x="4572416" y="1973448"/>
                </a:lnTo>
                <a:lnTo>
                  <a:pt x="4572416" y="2084273"/>
                </a:lnTo>
                <a:lnTo>
                  <a:pt x="4461591" y="2084273"/>
                </a:lnTo>
                <a:close/>
                <a:moveTo>
                  <a:pt x="3410788" y="1973448"/>
                </a:moveTo>
                <a:lnTo>
                  <a:pt x="3521614" y="1973448"/>
                </a:lnTo>
                <a:lnTo>
                  <a:pt x="3521614" y="2084273"/>
                </a:lnTo>
                <a:lnTo>
                  <a:pt x="3410788" y="2084273"/>
                </a:lnTo>
                <a:close/>
                <a:moveTo>
                  <a:pt x="6563205" y="1973448"/>
                </a:moveTo>
                <a:lnTo>
                  <a:pt x="6674030" y="1973448"/>
                </a:lnTo>
                <a:lnTo>
                  <a:pt x="6674030" y="2084273"/>
                </a:lnTo>
                <a:lnTo>
                  <a:pt x="6563205" y="2084273"/>
                </a:lnTo>
                <a:close/>
                <a:moveTo>
                  <a:pt x="5512399" y="1973448"/>
                </a:moveTo>
                <a:lnTo>
                  <a:pt x="5623224" y="1973448"/>
                </a:lnTo>
                <a:lnTo>
                  <a:pt x="5623224" y="2084273"/>
                </a:lnTo>
                <a:lnTo>
                  <a:pt x="5512399" y="2084273"/>
                </a:lnTo>
                <a:close/>
                <a:moveTo>
                  <a:pt x="7614013" y="1973448"/>
                </a:moveTo>
                <a:lnTo>
                  <a:pt x="7724838" y="1973448"/>
                </a:lnTo>
                <a:lnTo>
                  <a:pt x="7724838" y="2084273"/>
                </a:lnTo>
                <a:lnTo>
                  <a:pt x="7614013" y="2084273"/>
                </a:lnTo>
                <a:close/>
                <a:moveTo>
                  <a:pt x="9715629" y="1973448"/>
                </a:moveTo>
                <a:lnTo>
                  <a:pt x="9826454" y="1973448"/>
                </a:lnTo>
                <a:lnTo>
                  <a:pt x="9826454" y="2084273"/>
                </a:lnTo>
                <a:lnTo>
                  <a:pt x="9715629" y="2084273"/>
                </a:lnTo>
                <a:close/>
                <a:moveTo>
                  <a:pt x="8664821" y="1973448"/>
                </a:moveTo>
                <a:lnTo>
                  <a:pt x="8775646" y="1973448"/>
                </a:lnTo>
                <a:lnTo>
                  <a:pt x="8775646" y="2084273"/>
                </a:lnTo>
                <a:lnTo>
                  <a:pt x="8664821" y="2084273"/>
                </a:lnTo>
                <a:close/>
                <a:moveTo>
                  <a:pt x="11817249" y="1973448"/>
                </a:moveTo>
                <a:lnTo>
                  <a:pt x="11928074" y="1973448"/>
                </a:lnTo>
                <a:lnTo>
                  <a:pt x="11928074" y="2084273"/>
                </a:lnTo>
                <a:lnTo>
                  <a:pt x="11817249" y="2084273"/>
                </a:lnTo>
                <a:close/>
                <a:moveTo>
                  <a:pt x="10766437" y="1973448"/>
                </a:moveTo>
                <a:lnTo>
                  <a:pt x="10877262" y="1973448"/>
                </a:lnTo>
                <a:lnTo>
                  <a:pt x="10877262" y="2084273"/>
                </a:lnTo>
                <a:lnTo>
                  <a:pt x="10766437" y="2084273"/>
                </a:lnTo>
                <a:close/>
                <a:moveTo>
                  <a:pt x="3441643" y="1557959"/>
                </a:moveTo>
                <a:lnTo>
                  <a:pt x="2968431" y="2031169"/>
                </a:lnTo>
                <a:lnTo>
                  <a:pt x="3437348" y="2500070"/>
                </a:lnTo>
                <a:lnTo>
                  <a:pt x="3497959" y="2500070"/>
                </a:lnTo>
                <a:lnTo>
                  <a:pt x="3966865" y="2031168"/>
                </a:lnTo>
                <a:lnTo>
                  <a:pt x="3493665" y="1557959"/>
                </a:lnTo>
                <a:close/>
                <a:moveTo>
                  <a:pt x="2390961" y="1557959"/>
                </a:moveTo>
                <a:lnTo>
                  <a:pt x="1917745" y="2031169"/>
                </a:lnTo>
                <a:lnTo>
                  <a:pt x="2386665" y="2500070"/>
                </a:lnTo>
                <a:lnTo>
                  <a:pt x="2447277" y="2500070"/>
                </a:lnTo>
                <a:lnTo>
                  <a:pt x="2916189" y="2031169"/>
                </a:lnTo>
                <a:lnTo>
                  <a:pt x="2442980" y="1557959"/>
                </a:lnTo>
                <a:close/>
                <a:moveTo>
                  <a:pt x="1340273" y="1557959"/>
                </a:moveTo>
                <a:lnTo>
                  <a:pt x="867066" y="2031167"/>
                </a:lnTo>
                <a:lnTo>
                  <a:pt x="1335980" y="2500070"/>
                </a:lnTo>
                <a:lnTo>
                  <a:pt x="1396589" y="2500070"/>
                </a:lnTo>
                <a:lnTo>
                  <a:pt x="1865501" y="2031169"/>
                </a:lnTo>
                <a:lnTo>
                  <a:pt x="1392293" y="1557959"/>
                </a:lnTo>
                <a:close/>
                <a:moveTo>
                  <a:pt x="5542986" y="1557958"/>
                </a:moveTo>
                <a:lnTo>
                  <a:pt x="5069790" y="2031167"/>
                </a:lnTo>
                <a:lnTo>
                  <a:pt x="5538694" y="2500070"/>
                </a:lnTo>
                <a:lnTo>
                  <a:pt x="5599302" y="2500070"/>
                </a:lnTo>
                <a:lnTo>
                  <a:pt x="6068206" y="2031166"/>
                </a:lnTo>
                <a:lnTo>
                  <a:pt x="5595011" y="1557958"/>
                </a:lnTo>
                <a:close/>
                <a:moveTo>
                  <a:pt x="4492305" y="1557958"/>
                </a:moveTo>
                <a:lnTo>
                  <a:pt x="4019109" y="2031168"/>
                </a:lnTo>
                <a:lnTo>
                  <a:pt x="4488010" y="2500070"/>
                </a:lnTo>
                <a:lnTo>
                  <a:pt x="4548620" y="2500070"/>
                </a:lnTo>
                <a:lnTo>
                  <a:pt x="5017539" y="2031167"/>
                </a:lnTo>
                <a:lnTo>
                  <a:pt x="4544326" y="1557958"/>
                </a:lnTo>
                <a:close/>
                <a:moveTo>
                  <a:pt x="7644337" y="1557958"/>
                </a:moveTo>
                <a:lnTo>
                  <a:pt x="7171129" y="2031167"/>
                </a:lnTo>
                <a:lnTo>
                  <a:pt x="7640044" y="2500070"/>
                </a:lnTo>
                <a:lnTo>
                  <a:pt x="7700653" y="2500070"/>
                </a:lnTo>
                <a:lnTo>
                  <a:pt x="8169569" y="2031167"/>
                </a:lnTo>
                <a:lnTo>
                  <a:pt x="7696361" y="1557958"/>
                </a:lnTo>
                <a:close/>
                <a:moveTo>
                  <a:pt x="6593656" y="1557958"/>
                </a:moveTo>
                <a:lnTo>
                  <a:pt x="6120450" y="2031165"/>
                </a:lnTo>
                <a:lnTo>
                  <a:pt x="6589366" y="2500070"/>
                </a:lnTo>
                <a:lnTo>
                  <a:pt x="6649970" y="2500070"/>
                </a:lnTo>
                <a:lnTo>
                  <a:pt x="7118885" y="2031167"/>
                </a:lnTo>
                <a:lnTo>
                  <a:pt x="6645676" y="1557958"/>
                </a:lnTo>
                <a:close/>
                <a:moveTo>
                  <a:pt x="9745703" y="1557958"/>
                </a:moveTo>
                <a:lnTo>
                  <a:pt x="9272494" y="2031167"/>
                </a:lnTo>
                <a:lnTo>
                  <a:pt x="9741408" y="2500070"/>
                </a:lnTo>
                <a:lnTo>
                  <a:pt x="9802016" y="2500070"/>
                </a:lnTo>
                <a:lnTo>
                  <a:pt x="10270931" y="2031167"/>
                </a:lnTo>
                <a:lnTo>
                  <a:pt x="9797723" y="1557958"/>
                </a:lnTo>
                <a:close/>
                <a:moveTo>
                  <a:pt x="8695019" y="1557958"/>
                </a:moveTo>
                <a:lnTo>
                  <a:pt x="8221812" y="2031166"/>
                </a:lnTo>
                <a:lnTo>
                  <a:pt x="8690730" y="2500070"/>
                </a:lnTo>
                <a:lnTo>
                  <a:pt x="8751334" y="2500070"/>
                </a:lnTo>
                <a:lnTo>
                  <a:pt x="9220250" y="2031166"/>
                </a:lnTo>
                <a:lnTo>
                  <a:pt x="8747043" y="1557958"/>
                </a:lnTo>
                <a:close/>
                <a:moveTo>
                  <a:pt x="10796383" y="1557958"/>
                </a:moveTo>
                <a:lnTo>
                  <a:pt x="10323175" y="2031166"/>
                </a:lnTo>
                <a:lnTo>
                  <a:pt x="10792091" y="2500070"/>
                </a:lnTo>
                <a:lnTo>
                  <a:pt x="10852696" y="2500070"/>
                </a:lnTo>
                <a:lnTo>
                  <a:pt x="11321614" y="2031164"/>
                </a:lnTo>
                <a:lnTo>
                  <a:pt x="10848409" y="1557958"/>
                </a:lnTo>
                <a:close/>
                <a:moveTo>
                  <a:pt x="783781" y="1447135"/>
                </a:moveTo>
                <a:lnTo>
                  <a:pt x="894606" y="1447135"/>
                </a:lnTo>
                <a:lnTo>
                  <a:pt x="894606" y="1557959"/>
                </a:lnTo>
                <a:lnTo>
                  <a:pt x="783781" y="1557959"/>
                </a:lnTo>
                <a:close/>
                <a:moveTo>
                  <a:pt x="1834586" y="1447134"/>
                </a:moveTo>
                <a:lnTo>
                  <a:pt x="1945411" y="1447134"/>
                </a:lnTo>
                <a:lnTo>
                  <a:pt x="1945411" y="1557959"/>
                </a:lnTo>
                <a:lnTo>
                  <a:pt x="1834586" y="1557959"/>
                </a:lnTo>
                <a:close/>
                <a:moveTo>
                  <a:pt x="4987002" y="1447134"/>
                </a:moveTo>
                <a:lnTo>
                  <a:pt x="5097832" y="1447134"/>
                </a:lnTo>
                <a:lnTo>
                  <a:pt x="5097832" y="1557958"/>
                </a:lnTo>
                <a:lnTo>
                  <a:pt x="4987002" y="1557958"/>
                </a:lnTo>
                <a:close/>
                <a:moveTo>
                  <a:pt x="3936204" y="1447134"/>
                </a:moveTo>
                <a:lnTo>
                  <a:pt x="4047028" y="1447134"/>
                </a:lnTo>
                <a:lnTo>
                  <a:pt x="4047028" y="1557959"/>
                </a:lnTo>
                <a:lnTo>
                  <a:pt x="3936204" y="1557959"/>
                </a:lnTo>
                <a:close/>
                <a:moveTo>
                  <a:pt x="2885398" y="1447134"/>
                </a:moveTo>
                <a:lnTo>
                  <a:pt x="2996224" y="1447134"/>
                </a:lnTo>
                <a:lnTo>
                  <a:pt x="2996224" y="1557959"/>
                </a:lnTo>
                <a:lnTo>
                  <a:pt x="2885398" y="1557959"/>
                </a:lnTo>
                <a:close/>
                <a:moveTo>
                  <a:pt x="6037801" y="1447133"/>
                </a:moveTo>
                <a:lnTo>
                  <a:pt x="6148626" y="1447133"/>
                </a:lnTo>
                <a:lnTo>
                  <a:pt x="6148626" y="1557958"/>
                </a:lnTo>
                <a:lnTo>
                  <a:pt x="6037801" y="1557958"/>
                </a:lnTo>
                <a:close/>
                <a:moveTo>
                  <a:pt x="9190225" y="1447133"/>
                </a:moveTo>
                <a:lnTo>
                  <a:pt x="9301050" y="1447133"/>
                </a:lnTo>
                <a:lnTo>
                  <a:pt x="9301050" y="1557958"/>
                </a:lnTo>
                <a:lnTo>
                  <a:pt x="9190225" y="1557958"/>
                </a:lnTo>
                <a:close/>
                <a:moveTo>
                  <a:pt x="8139417" y="1447133"/>
                </a:moveTo>
                <a:lnTo>
                  <a:pt x="8250242" y="1447133"/>
                </a:lnTo>
                <a:lnTo>
                  <a:pt x="8250242" y="1557958"/>
                </a:lnTo>
                <a:lnTo>
                  <a:pt x="8139417" y="1557958"/>
                </a:lnTo>
                <a:close/>
                <a:moveTo>
                  <a:pt x="7088609" y="1447133"/>
                </a:moveTo>
                <a:lnTo>
                  <a:pt x="7199434" y="1447133"/>
                </a:lnTo>
                <a:lnTo>
                  <a:pt x="7199434" y="1557958"/>
                </a:lnTo>
                <a:lnTo>
                  <a:pt x="7088609" y="1557958"/>
                </a:lnTo>
                <a:close/>
                <a:moveTo>
                  <a:pt x="10241033" y="1447133"/>
                </a:moveTo>
                <a:lnTo>
                  <a:pt x="10351858" y="1447133"/>
                </a:lnTo>
                <a:lnTo>
                  <a:pt x="10351858" y="1557957"/>
                </a:lnTo>
                <a:lnTo>
                  <a:pt x="10241033" y="1557957"/>
                </a:lnTo>
                <a:close/>
                <a:moveTo>
                  <a:pt x="11291841" y="1447133"/>
                </a:moveTo>
                <a:lnTo>
                  <a:pt x="11402666" y="1447133"/>
                </a:lnTo>
                <a:lnTo>
                  <a:pt x="11402666" y="1557957"/>
                </a:lnTo>
                <a:lnTo>
                  <a:pt x="11291841" y="1557957"/>
                </a:lnTo>
                <a:close/>
                <a:moveTo>
                  <a:pt x="2942310" y="1006607"/>
                </a:moveTo>
                <a:lnTo>
                  <a:pt x="2470820" y="1478100"/>
                </a:lnTo>
                <a:lnTo>
                  <a:pt x="2470820" y="1533556"/>
                </a:lnTo>
                <a:lnTo>
                  <a:pt x="2942310" y="2005047"/>
                </a:lnTo>
                <a:lnTo>
                  <a:pt x="3410804" y="1536556"/>
                </a:lnTo>
                <a:lnTo>
                  <a:pt x="3410804" y="1475099"/>
                </a:lnTo>
                <a:close/>
                <a:moveTo>
                  <a:pt x="1891623" y="1006607"/>
                </a:moveTo>
                <a:lnTo>
                  <a:pt x="1420008" y="1478224"/>
                </a:lnTo>
                <a:lnTo>
                  <a:pt x="1420008" y="1533431"/>
                </a:lnTo>
                <a:lnTo>
                  <a:pt x="1891623" y="2005047"/>
                </a:lnTo>
                <a:lnTo>
                  <a:pt x="2359996" y="1536681"/>
                </a:lnTo>
                <a:lnTo>
                  <a:pt x="2359996" y="1474975"/>
                </a:lnTo>
                <a:close/>
                <a:moveTo>
                  <a:pt x="840943" y="1006607"/>
                </a:moveTo>
                <a:lnTo>
                  <a:pt x="369202" y="1478351"/>
                </a:lnTo>
                <a:lnTo>
                  <a:pt x="369202" y="1533303"/>
                </a:lnTo>
                <a:lnTo>
                  <a:pt x="840944" y="2005046"/>
                </a:lnTo>
                <a:lnTo>
                  <a:pt x="1309184" y="1536806"/>
                </a:lnTo>
                <a:lnTo>
                  <a:pt x="1309184" y="1474850"/>
                </a:lnTo>
                <a:close/>
                <a:moveTo>
                  <a:pt x="3992987" y="1006606"/>
                </a:moveTo>
                <a:lnTo>
                  <a:pt x="3521631" y="1477974"/>
                </a:lnTo>
                <a:lnTo>
                  <a:pt x="3521631" y="1533680"/>
                </a:lnTo>
                <a:lnTo>
                  <a:pt x="3992986" y="2005046"/>
                </a:lnTo>
                <a:lnTo>
                  <a:pt x="4461598" y="1536423"/>
                </a:lnTo>
                <a:lnTo>
                  <a:pt x="4461598" y="1475230"/>
                </a:lnTo>
                <a:close/>
                <a:moveTo>
                  <a:pt x="6094326" y="1006605"/>
                </a:moveTo>
                <a:lnTo>
                  <a:pt x="5623230" y="1477714"/>
                </a:lnTo>
                <a:lnTo>
                  <a:pt x="5623230" y="1533934"/>
                </a:lnTo>
                <a:lnTo>
                  <a:pt x="6094328" y="2005044"/>
                </a:lnTo>
                <a:lnTo>
                  <a:pt x="6563205" y="1536166"/>
                </a:lnTo>
                <a:lnTo>
                  <a:pt x="6563205" y="1475487"/>
                </a:lnTo>
                <a:close/>
                <a:moveTo>
                  <a:pt x="9246371" y="1006604"/>
                </a:moveTo>
                <a:lnTo>
                  <a:pt x="8775646" y="1477332"/>
                </a:lnTo>
                <a:lnTo>
                  <a:pt x="8775646" y="1534319"/>
                </a:lnTo>
                <a:lnTo>
                  <a:pt x="9246371" y="2005045"/>
                </a:lnTo>
                <a:lnTo>
                  <a:pt x="9715629" y="1535786"/>
                </a:lnTo>
                <a:lnTo>
                  <a:pt x="9715629" y="1475864"/>
                </a:lnTo>
                <a:close/>
                <a:moveTo>
                  <a:pt x="5043669" y="1006604"/>
                </a:moveTo>
                <a:lnTo>
                  <a:pt x="4572422" y="1477843"/>
                </a:lnTo>
                <a:lnTo>
                  <a:pt x="4572422" y="1533811"/>
                </a:lnTo>
                <a:lnTo>
                  <a:pt x="5043664" y="2005045"/>
                </a:lnTo>
                <a:lnTo>
                  <a:pt x="5512407" y="1536296"/>
                </a:lnTo>
                <a:lnTo>
                  <a:pt x="5512407" y="1475351"/>
                </a:lnTo>
                <a:close/>
                <a:moveTo>
                  <a:pt x="11347735" y="1006604"/>
                </a:moveTo>
                <a:lnTo>
                  <a:pt x="10877262" y="1477079"/>
                </a:lnTo>
                <a:lnTo>
                  <a:pt x="10877262" y="1534567"/>
                </a:lnTo>
                <a:lnTo>
                  <a:pt x="11347736" y="2005041"/>
                </a:lnTo>
                <a:lnTo>
                  <a:pt x="11817249" y="1535528"/>
                </a:lnTo>
                <a:lnTo>
                  <a:pt x="11817249" y="1476120"/>
                </a:lnTo>
                <a:close/>
                <a:moveTo>
                  <a:pt x="8195690" y="1006604"/>
                </a:moveTo>
                <a:lnTo>
                  <a:pt x="7724838" y="1477458"/>
                </a:lnTo>
                <a:lnTo>
                  <a:pt x="7724838" y="1534191"/>
                </a:lnTo>
                <a:lnTo>
                  <a:pt x="8195691" y="2005044"/>
                </a:lnTo>
                <a:lnTo>
                  <a:pt x="8664821" y="1535914"/>
                </a:lnTo>
                <a:lnTo>
                  <a:pt x="8664821" y="1475736"/>
                </a:lnTo>
                <a:close/>
                <a:moveTo>
                  <a:pt x="7145009" y="1006604"/>
                </a:moveTo>
                <a:lnTo>
                  <a:pt x="6674030" y="1477584"/>
                </a:lnTo>
                <a:lnTo>
                  <a:pt x="6674030" y="1534069"/>
                </a:lnTo>
                <a:lnTo>
                  <a:pt x="7145007" y="2005046"/>
                </a:lnTo>
                <a:lnTo>
                  <a:pt x="7614013" y="1536039"/>
                </a:lnTo>
                <a:lnTo>
                  <a:pt x="7614013" y="1475610"/>
                </a:lnTo>
                <a:close/>
                <a:moveTo>
                  <a:pt x="10297056" y="1006603"/>
                </a:moveTo>
                <a:lnTo>
                  <a:pt x="9826454" y="1477207"/>
                </a:lnTo>
                <a:lnTo>
                  <a:pt x="9826454" y="1534445"/>
                </a:lnTo>
                <a:lnTo>
                  <a:pt x="10297053" y="2005045"/>
                </a:lnTo>
                <a:lnTo>
                  <a:pt x="10766437" y="1535660"/>
                </a:lnTo>
                <a:lnTo>
                  <a:pt x="10766437" y="1475986"/>
                </a:lnTo>
                <a:close/>
                <a:moveTo>
                  <a:pt x="258361" y="922634"/>
                </a:moveTo>
                <a:lnTo>
                  <a:pt x="369186" y="922634"/>
                </a:lnTo>
                <a:lnTo>
                  <a:pt x="369186" y="1033459"/>
                </a:lnTo>
                <a:lnTo>
                  <a:pt x="258361" y="1033459"/>
                </a:lnTo>
                <a:close/>
                <a:moveTo>
                  <a:pt x="2359977" y="922633"/>
                </a:moveTo>
                <a:lnTo>
                  <a:pt x="2470802" y="922633"/>
                </a:lnTo>
                <a:lnTo>
                  <a:pt x="2470802" y="1033458"/>
                </a:lnTo>
                <a:lnTo>
                  <a:pt x="2359977" y="1033458"/>
                </a:lnTo>
                <a:close/>
                <a:moveTo>
                  <a:pt x="1309169" y="922633"/>
                </a:moveTo>
                <a:lnTo>
                  <a:pt x="1419993" y="922633"/>
                </a:lnTo>
                <a:lnTo>
                  <a:pt x="1419993" y="1033458"/>
                </a:lnTo>
                <a:lnTo>
                  <a:pt x="1309169" y="1033458"/>
                </a:lnTo>
                <a:close/>
                <a:moveTo>
                  <a:pt x="5512398" y="922633"/>
                </a:moveTo>
                <a:lnTo>
                  <a:pt x="5623223" y="922633"/>
                </a:lnTo>
                <a:lnTo>
                  <a:pt x="5623223" y="1033458"/>
                </a:lnTo>
                <a:lnTo>
                  <a:pt x="5512398" y="1033458"/>
                </a:lnTo>
                <a:close/>
                <a:moveTo>
                  <a:pt x="4461591" y="922633"/>
                </a:moveTo>
                <a:lnTo>
                  <a:pt x="4572415" y="922633"/>
                </a:lnTo>
                <a:lnTo>
                  <a:pt x="4572415" y="1033458"/>
                </a:lnTo>
                <a:lnTo>
                  <a:pt x="4461591" y="1033458"/>
                </a:lnTo>
                <a:close/>
                <a:moveTo>
                  <a:pt x="3410785" y="922633"/>
                </a:moveTo>
                <a:lnTo>
                  <a:pt x="3521610" y="922633"/>
                </a:lnTo>
                <a:lnTo>
                  <a:pt x="3521610" y="1033458"/>
                </a:lnTo>
                <a:lnTo>
                  <a:pt x="3410785" y="1033458"/>
                </a:lnTo>
                <a:close/>
                <a:moveTo>
                  <a:pt x="7614013" y="922633"/>
                </a:moveTo>
                <a:lnTo>
                  <a:pt x="7724838" y="922633"/>
                </a:lnTo>
                <a:lnTo>
                  <a:pt x="7724838" y="1033458"/>
                </a:lnTo>
                <a:lnTo>
                  <a:pt x="7614013" y="1033458"/>
                </a:lnTo>
                <a:close/>
                <a:moveTo>
                  <a:pt x="6563205" y="922633"/>
                </a:moveTo>
                <a:lnTo>
                  <a:pt x="6674030" y="922633"/>
                </a:lnTo>
                <a:lnTo>
                  <a:pt x="6674030" y="1033458"/>
                </a:lnTo>
                <a:lnTo>
                  <a:pt x="6563205" y="1033458"/>
                </a:lnTo>
                <a:close/>
                <a:moveTo>
                  <a:pt x="10766437" y="922633"/>
                </a:moveTo>
                <a:lnTo>
                  <a:pt x="10877262" y="922633"/>
                </a:lnTo>
                <a:lnTo>
                  <a:pt x="10877262" y="1033458"/>
                </a:lnTo>
                <a:lnTo>
                  <a:pt x="10766437" y="1033458"/>
                </a:lnTo>
                <a:close/>
                <a:moveTo>
                  <a:pt x="9715629" y="922633"/>
                </a:moveTo>
                <a:lnTo>
                  <a:pt x="9826454" y="922633"/>
                </a:lnTo>
                <a:lnTo>
                  <a:pt x="9826454" y="1033458"/>
                </a:lnTo>
                <a:lnTo>
                  <a:pt x="9715629" y="1033458"/>
                </a:lnTo>
                <a:close/>
                <a:moveTo>
                  <a:pt x="8664821" y="922633"/>
                </a:moveTo>
                <a:lnTo>
                  <a:pt x="8775646" y="922633"/>
                </a:lnTo>
                <a:lnTo>
                  <a:pt x="8775646" y="1033458"/>
                </a:lnTo>
                <a:lnTo>
                  <a:pt x="8664821" y="1033458"/>
                </a:lnTo>
                <a:close/>
                <a:moveTo>
                  <a:pt x="11817249" y="922633"/>
                </a:moveTo>
                <a:lnTo>
                  <a:pt x="11928074" y="922633"/>
                </a:lnTo>
                <a:lnTo>
                  <a:pt x="11928074" y="1033458"/>
                </a:lnTo>
                <a:lnTo>
                  <a:pt x="11817249" y="1033458"/>
                </a:lnTo>
                <a:close/>
                <a:moveTo>
                  <a:pt x="1337485" y="510062"/>
                </a:moveTo>
                <a:lnTo>
                  <a:pt x="867065" y="980486"/>
                </a:lnTo>
                <a:lnTo>
                  <a:pt x="1333712" y="1447134"/>
                </a:lnTo>
                <a:lnTo>
                  <a:pt x="1398855" y="1447134"/>
                </a:lnTo>
                <a:lnTo>
                  <a:pt x="1865501" y="980486"/>
                </a:lnTo>
                <a:lnTo>
                  <a:pt x="1395081" y="510062"/>
                </a:lnTo>
                <a:close/>
                <a:moveTo>
                  <a:pt x="2388173" y="510062"/>
                </a:moveTo>
                <a:lnTo>
                  <a:pt x="1917745" y="980486"/>
                </a:lnTo>
                <a:lnTo>
                  <a:pt x="2384399" y="1447134"/>
                </a:lnTo>
                <a:lnTo>
                  <a:pt x="2449542" y="1447134"/>
                </a:lnTo>
                <a:lnTo>
                  <a:pt x="2916189" y="980486"/>
                </a:lnTo>
                <a:lnTo>
                  <a:pt x="2445767" y="510062"/>
                </a:lnTo>
                <a:close/>
                <a:moveTo>
                  <a:pt x="3438856" y="510062"/>
                </a:moveTo>
                <a:lnTo>
                  <a:pt x="2968432" y="980486"/>
                </a:lnTo>
                <a:lnTo>
                  <a:pt x="3435083" y="1447134"/>
                </a:lnTo>
                <a:lnTo>
                  <a:pt x="3500228" y="1447134"/>
                </a:lnTo>
                <a:lnTo>
                  <a:pt x="3966865" y="980485"/>
                </a:lnTo>
                <a:lnTo>
                  <a:pt x="3496454" y="510062"/>
                </a:lnTo>
                <a:close/>
                <a:moveTo>
                  <a:pt x="4489518" y="510062"/>
                </a:moveTo>
                <a:lnTo>
                  <a:pt x="4019109" y="980485"/>
                </a:lnTo>
                <a:lnTo>
                  <a:pt x="4485744" y="1447134"/>
                </a:lnTo>
                <a:lnTo>
                  <a:pt x="4550887" y="1447134"/>
                </a:lnTo>
                <a:lnTo>
                  <a:pt x="5017543" y="980483"/>
                </a:lnTo>
                <a:lnTo>
                  <a:pt x="4547118" y="510062"/>
                </a:lnTo>
                <a:close/>
                <a:moveTo>
                  <a:pt x="5540201" y="510062"/>
                </a:moveTo>
                <a:lnTo>
                  <a:pt x="5069792" y="980483"/>
                </a:lnTo>
                <a:lnTo>
                  <a:pt x="5536431" y="1447134"/>
                </a:lnTo>
                <a:lnTo>
                  <a:pt x="5601567" y="1447134"/>
                </a:lnTo>
                <a:lnTo>
                  <a:pt x="6068204" y="980484"/>
                </a:lnTo>
                <a:lnTo>
                  <a:pt x="5597797" y="510062"/>
                </a:lnTo>
                <a:close/>
                <a:moveTo>
                  <a:pt x="6590867" y="510062"/>
                </a:moveTo>
                <a:lnTo>
                  <a:pt x="6120447" y="980484"/>
                </a:lnTo>
                <a:lnTo>
                  <a:pt x="6587095" y="1447133"/>
                </a:lnTo>
                <a:lnTo>
                  <a:pt x="6652238" y="1447133"/>
                </a:lnTo>
                <a:lnTo>
                  <a:pt x="7118887" y="980483"/>
                </a:lnTo>
                <a:lnTo>
                  <a:pt x="6648468" y="510062"/>
                </a:lnTo>
                <a:close/>
                <a:moveTo>
                  <a:pt x="7641550" y="510061"/>
                </a:moveTo>
                <a:lnTo>
                  <a:pt x="7171131" y="980482"/>
                </a:lnTo>
                <a:lnTo>
                  <a:pt x="7637780" y="1447133"/>
                </a:lnTo>
                <a:lnTo>
                  <a:pt x="7702919" y="1447133"/>
                </a:lnTo>
                <a:lnTo>
                  <a:pt x="8169568" y="980483"/>
                </a:lnTo>
                <a:lnTo>
                  <a:pt x="7699149" y="510061"/>
                </a:lnTo>
                <a:close/>
                <a:moveTo>
                  <a:pt x="8692232" y="510061"/>
                </a:moveTo>
                <a:lnTo>
                  <a:pt x="8221811" y="980484"/>
                </a:lnTo>
                <a:lnTo>
                  <a:pt x="8688459" y="1447133"/>
                </a:lnTo>
                <a:lnTo>
                  <a:pt x="8753603" y="1447133"/>
                </a:lnTo>
                <a:lnTo>
                  <a:pt x="9220250" y="980484"/>
                </a:lnTo>
                <a:lnTo>
                  <a:pt x="8749829" y="510061"/>
                </a:lnTo>
                <a:close/>
                <a:moveTo>
                  <a:pt x="10793597" y="510061"/>
                </a:moveTo>
                <a:lnTo>
                  <a:pt x="10323178" y="980482"/>
                </a:lnTo>
                <a:lnTo>
                  <a:pt x="10789828" y="1447133"/>
                </a:lnTo>
                <a:lnTo>
                  <a:pt x="10854964" y="1447133"/>
                </a:lnTo>
                <a:lnTo>
                  <a:pt x="11321613" y="980483"/>
                </a:lnTo>
                <a:lnTo>
                  <a:pt x="10851193" y="510061"/>
                </a:lnTo>
                <a:close/>
                <a:moveTo>
                  <a:pt x="9742913" y="510061"/>
                </a:moveTo>
                <a:lnTo>
                  <a:pt x="9272493" y="980483"/>
                </a:lnTo>
                <a:lnTo>
                  <a:pt x="9739141" y="1447133"/>
                </a:lnTo>
                <a:lnTo>
                  <a:pt x="9804283" y="1447133"/>
                </a:lnTo>
                <a:lnTo>
                  <a:pt x="10270933" y="980481"/>
                </a:lnTo>
                <a:lnTo>
                  <a:pt x="9800515" y="510061"/>
                </a:lnTo>
                <a:close/>
                <a:moveTo>
                  <a:pt x="783785" y="399238"/>
                </a:moveTo>
                <a:lnTo>
                  <a:pt x="894609" y="399238"/>
                </a:lnTo>
                <a:lnTo>
                  <a:pt x="894609" y="510062"/>
                </a:lnTo>
                <a:lnTo>
                  <a:pt x="783785" y="510062"/>
                </a:lnTo>
                <a:close/>
                <a:moveTo>
                  <a:pt x="2885401" y="399237"/>
                </a:moveTo>
                <a:lnTo>
                  <a:pt x="2996227" y="399237"/>
                </a:lnTo>
                <a:lnTo>
                  <a:pt x="2996227" y="510062"/>
                </a:lnTo>
                <a:lnTo>
                  <a:pt x="2885401" y="510062"/>
                </a:lnTo>
                <a:close/>
                <a:moveTo>
                  <a:pt x="1834590" y="399237"/>
                </a:moveTo>
                <a:lnTo>
                  <a:pt x="1945415" y="399237"/>
                </a:lnTo>
                <a:lnTo>
                  <a:pt x="1945415" y="510062"/>
                </a:lnTo>
                <a:lnTo>
                  <a:pt x="1834590" y="510062"/>
                </a:lnTo>
                <a:close/>
                <a:moveTo>
                  <a:pt x="3936208" y="399237"/>
                </a:moveTo>
                <a:lnTo>
                  <a:pt x="4047032" y="399237"/>
                </a:lnTo>
                <a:lnTo>
                  <a:pt x="4047032" y="510062"/>
                </a:lnTo>
                <a:lnTo>
                  <a:pt x="3936208" y="510062"/>
                </a:lnTo>
                <a:close/>
                <a:moveTo>
                  <a:pt x="4987004" y="399237"/>
                </a:moveTo>
                <a:lnTo>
                  <a:pt x="5097834" y="399237"/>
                </a:lnTo>
                <a:lnTo>
                  <a:pt x="5097834" y="510062"/>
                </a:lnTo>
                <a:lnTo>
                  <a:pt x="4987004" y="510062"/>
                </a:lnTo>
                <a:close/>
                <a:moveTo>
                  <a:pt x="6037802" y="399237"/>
                </a:moveTo>
                <a:lnTo>
                  <a:pt x="6148626" y="399237"/>
                </a:lnTo>
                <a:lnTo>
                  <a:pt x="6148626" y="510062"/>
                </a:lnTo>
                <a:lnTo>
                  <a:pt x="6037802" y="510062"/>
                </a:lnTo>
                <a:close/>
                <a:moveTo>
                  <a:pt x="7088609" y="399237"/>
                </a:moveTo>
                <a:lnTo>
                  <a:pt x="7199434" y="399237"/>
                </a:lnTo>
                <a:lnTo>
                  <a:pt x="7199434" y="510061"/>
                </a:lnTo>
                <a:lnTo>
                  <a:pt x="7088609" y="510061"/>
                </a:lnTo>
                <a:close/>
                <a:moveTo>
                  <a:pt x="8139417" y="399237"/>
                </a:moveTo>
                <a:lnTo>
                  <a:pt x="8250242" y="399237"/>
                </a:lnTo>
                <a:lnTo>
                  <a:pt x="8250242" y="510061"/>
                </a:lnTo>
                <a:lnTo>
                  <a:pt x="8139417" y="510061"/>
                </a:lnTo>
                <a:close/>
                <a:moveTo>
                  <a:pt x="9190225" y="399236"/>
                </a:moveTo>
                <a:lnTo>
                  <a:pt x="9301050" y="399236"/>
                </a:lnTo>
                <a:lnTo>
                  <a:pt x="9301050" y="510061"/>
                </a:lnTo>
                <a:lnTo>
                  <a:pt x="9190225" y="510061"/>
                </a:lnTo>
                <a:close/>
                <a:moveTo>
                  <a:pt x="10241033" y="399236"/>
                </a:moveTo>
                <a:lnTo>
                  <a:pt x="10351858" y="399236"/>
                </a:lnTo>
                <a:lnTo>
                  <a:pt x="10351858" y="510061"/>
                </a:lnTo>
                <a:lnTo>
                  <a:pt x="10241033" y="510061"/>
                </a:lnTo>
                <a:close/>
                <a:moveTo>
                  <a:pt x="11291841" y="399236"/>
                </a:moveTo>
                <a:lnTo>
                  <a:pt x="11402666" y="399236"/>
                </a:lnTo>
                <a:lnTo>
                  <a:pt x="11402666" y="510061"/>
                </a:lnTo>
                <a:lnTo>
                  <a:pt x="11291841" y="510061"/>
                </a:lnTo>
                <a:close/>
                <a:moveTo>
                  <a:pt x="6138405" y="0"/>
                </a:moveTo>
                <a:lnTo>
                  <a:pt x="6190649" y="0"/>
                </a:lnTo>
                <a:lnTo>
                  <a:pt x="6589887" y="399237"/>
                </a:lnTo>
                <a:lnTo>
                  <a:pt x="6649449" y="399237"/>
                </a:lnTo>
                <a:lnTo>
                  <a:pt x="7048684" y="2"/>
                </a:lnTo>
                <a:lnTo>
                  <a:pt x="7100928" y="2"/>
                </a:lnTo>
                <a:lnTo>
                  <a:pt x="6674030" y="426899"/>
                </a:lnTo>
                <a:lnTo>
                  <a:pt x="6674030" y="483379"/>
                </a:lnTo>
                <a:lnTo>
                  <a:pt x="7145009" y="954361"/>
                </a:lnTo>
                <a:lnTo>
                  <a:pt x="7614013" y="485355"/>
                </a:lnTo>
                <a:lnTo>
                  <a:pt x="7614013" y="424926"/>
                </a:lnTo>
                <a:lnTo>
                  <a:pt x="7189086" y="0"/>
                </a:lnTo>
                <a:lnTo>
                  <a:pt x="7241329" y="0"/>
                </a:lnTo>
                <a:lnTo>
                  <a:pt x="7640566" y="399237"/>
                </a:lnTo>
                <a:lnTo>
                  <a:pt x="7700131" y="399237"/>
                </a:lnTo>
                <a:lnTo>
                  <a:pt x="8099367" y="1"/>
                </a:lnTo>
                <a:lnTo>
                  <a:pt x="8151611" y="1"/>
                </a:lnTo>
                <a:lnTo>
                  <a:pt x="7724838" y="426774"/>
                </a:lnTo>
                <a:lnTo>
                  <a:pt x="7724838" y="483508"/>
                </a:lnTo>
                <a:lnTo>
                  <a:pt x="8195689" y="954363"/>
                </a:lnTo>
                <a:lnTo>
                  <a:pt x="8664821" y="485229"/>
                </a:lnTo>
                <a:lnTo>
                  <a:pt x="8664821" y="425053"/>
                </a:lnTo>
                <a:lnTo>
                  <a:pt x="8239767" y="0"/>
                </a:lnTo>
                <a:lnTo>
                  <a:pt x="8292011" y="0"/>
                </a:lnTo>
                <a:lnTo>
                  <a:pt x="8691248" y="399236"/>
                </a:lnTo>
                <a:lnTo>
                  <a:pt x="8750812" y="399236"/>
                </a:lnTo>
                <a:lnTo>
                  <a:pt x="9150049" y="1"/>
                </a:lnTo>
                <a:lnTo>
                  <a:pt x="9202293" y="1"/>
                </a:lnTo>
                <a:lnTo>
                  <a:pt x="8775646" y="426647"/>
                </a:lnTo>
                <a:lnTo>
                  <a:pt x="8775646" y="483635"/>
                </a:lnTo>
                <a:lnTo>
                  <a:pt x="9246372" y="954363"/>
                </a:lnTo>
                <a:lnTo>
                  <a:pt x="9715629" y="485103"/>
                </a:lnTo>
                <a:lnTo>
                  <a:pt x="9715629" y="425175"/>
                </a:lnTo>
                <a:lnTo>
                  <a:pt x="9290453" y="0"/>
                </a:lnTo>
                <a:lnTo>
                  <a:pt x="9342696" y="0"/>
                </a:lnTo>
                <a:lnTo>
                  <a:pt x="9741934" y="399236"/>
                </a:lnTo>
                <a:lnTo>
                  <a:pt x="9801496" y="399236"/>
                </a:lnTo>
                <a:lnTo>
                  <a:pt x="10200732" y="1"/>
                </a:lnTo>
                <a:lnTo>
                  <a:pt x="10252974" y="1"/>
                </a:lnTo>
                <a:lnTo>
                  <a:pt x="9826454" y="426520"/>
                </a:lnTo>
                <a:lnTo>
                  <a:pt x="9826454" y="483756"/>
                </a:lnTo>
                <a:lnTo>
                  <a:pt x="10297055" y="954360"/>
                </a:lnTo>
                <a:lnTo>
                  <a:pt x="10766437" y="484975"/>
                </a:lnTo>
                <a:lnTo>
                  <a:pt x="10766437" y="425305"/>
                </a:lnTo>
                <a:lnTo>
                  <a:pt x="10341131" y="0"/>
                </a:lnTo>
                <a:lnTo>
                  <a:pt x="10393375" y="0"/>
                </a:lnTo>
                <a:lnTo>
                  <a:pt x="10792612" y="399236"/>
                </a:lnTo>
                <a:lnTo>
                  <a:pt x="10852176" y="399236"/>
                </a:lnTo>
                <a:lnTo>
                  <a:pt x="11251411" y="3"/>
                </a:lnTo>
                <a:lnTo>
                  <a:pt x="11303657" y="3"/>
                </a:lnTo>
                <a:lnTo>
                  <a:pt x="10877262" y="426397"/>
                </a:lnTo>
                <a:lnTo>
                  <a:pt x="10877262" y="483887"/>
                </a:lnTo>
                <a:lnTo>
                  <a:pt x="11347735" y="954362"/>
                </a:lnTo>
                <a:lnTo>
                  <a:pt x="11817249" y="484846"/>
                </a:lnTo>
                <a:lnTo>
                  <a:pt x="11817249" y="425436"/>
                </a:lnTo>
                <a:lnTo>
                  <a:pt x="11391812" y="0"/>
                </a:lnTo>
                <a:lnTo>
                  <a:pt x="11444056" y="0"/>
                </a:lnTo>
                <a:lnTo>
                  <a:pt x="11843293" y="399236"/>
                </a:lnTo>
                <a:lnTo>
                  <a:pt x="11902859" y="399236"/>
                </a:lnTo>
                <a:lnTo>
                  <a:pt x="12191973" y="110123"/>
                </a:lnTo>
                <a:lnTo>
                  <a:pt x="12191973" y="162366"/>
                </a:lnTo>
                <a:lnTo>
                  <a:pt x="11928074" y="426265"/>
                </a:lnTo>
                <a:lnTo>
                  <a:pt x="11928074" y="484017"/>
                </a:lnTo>
                <a:lnTo>
                  <a:pt x="12191974" y="747926"/>
                </a:lnTo>
                <a:lnTo>
                  <a:pt x="12191974" y="800166"/>
                </a:lnTo>
                <a:lnTo>
                  <a:pt x="11901874" y="510061"/>
                </a:lnTo>
                <a:lnTo>
                  <a:pt x="11844278" y="510061"/>
                </a:lnTo>
                <a:lnTo>
                  <a:pt x="11373857" y="980483"/>
                </a:lnTo>
                <a:lnTo>
                  <a:pt x="11840505" y="1447132"/>
                </a:lnTo>
                <a:lnTo>
                  <a:pt x="11905645" y="1447132"/>
                </a:lnTo>
                <a:lnTo>
                  <a:pt x="12191976" y="1160803"/>
                </a:lnTo>
                <a:lnTo>
                  <a:pt x="12191976" y="1213046"/>
                </a:lnTo>
                <a:lnTo>
                  <a:pt x="11928074" y="1476947"/>
                </a:lnTo>
                <a:lnTo>
                  <a:pt x="11928074" y="1534702"/>
                </a:lnTo>
                <a:lnTo>
                  <a:pt x="12191975" y="1798604"/>
                </a:lnTo>
                <a:lnTo>
                  <a:pt x="12191975" y="1850847"/>
                </a:lnTo>
                <a:lnTo>
                  <a:pt x="11899087" y="1557957"/>
                </a:lnTo>
                <a:lnTo>
                  <a:pt x="11847063" y="1557957"/>
                </a:lnTo>
                <a:lnTo>
                  <a:pt x="11373858" y="2031163"/>
                </a:lnTo>
                <a:lnTo>
                  <a:pt x="11842778" y="2500070"/>
                </a:lnTo>
                <a:lnTo>
                  <a:pt x="11903378" y="2500070"/>
                </a:lnTo>
                <a:lnTo>
                  <a:pt x="12191975" y="2211473"/>
                </a:lnTo>
                <a:lnTo>
                  <a:pt x="12191974" y="2263716"/>
                </a:lnTo>
                <a:lnTo>
                  <a:pt x="11928074" y="2527616"/>
                </a:lnTo>
                <a:lnTo>
                  <a:pt x="11928074" y="2585366"/>
                </a:lnTo>
                <a:lnTo>
                  <a:pt x="12191978" y="2849270"/>
                </a:lnTo>
                <a:lnTo>
                  <a:pt x="12191977" y="2901515"/>
                </a:lnTo>
                <a:lnTo>
                  <a:pt x="11901357" y="2610895"/>
                </a:lnTo>
                <a:lnTo>
                  <a:pt x="11844795" y="2610895"/>
                </a:lnTo>
                <a:lnTo>
                  <a:pt x="11373856" y="3081835"/>
                </a:lnTo>
                <a:lnTo>
                  <a:pt x="11843230" y="3551209"/>
                </a:lnTo>
                <a:lnTo>
                  <a:pt x="11902922" y="3551209"/>
                </a:lnTo>
                <a:lnTo>
                  <a:pt x="12191974" y="3262156"/>
                </a:lnTo>
                <a:lnTo>
                  <a:pt x="12191974" y="3314400"/>
                </a:lnTo>
                <a:lnTo>
                  <a:pt x="11928074" y="3578299"/>
                </a:lnTo>
                <a:lnTo>
                  <a:pt x="11928074" y="3636053"/>
                </a:lnTo>
                <a:lnTo>
                  <a:pt x="12191975" y="3899954"/>
                </a:lnTo>
                <a:lnTo>
                  <a:pt x="12191975" y="3952198"/>
                </a:lnTo>
                <a:lnTo>
                  <a:pt x="11901811" y="3662034"/>
                </a:lnTo>
                <a:lnTo>
                  <a:pt x="11844339" y="3662034"/>
                </a:lnTo>
                <a:lnTo>
                  <a:pt x="11373856" y="4132518"/>
                </a:lnTo>
                <a:lnTo>
                  <a:pt x="11813331" y="4571992"/>
                </a:lnTo>
                <a:lnTo>
                  <a:pt x="11761089" y="4571991"/>
                </a:lnTo>
                <a:lnTo>
                  <a:pt x="11347736" y="4158638"/>
                </a:lnTo>
                <a:lnTo>
                  <a:pt x="10934382" y="4571992"/>
                </a:lnTo>
                <a:lnTo>
                  <a:pt x="10882138" y="4571992"/>
                </a:lnTo>
                <a:lnTo>
                  <a:pt x="11321614" y="4132516"/>
                </a:lnTo>
                <a:lnTo>
                  <a:pt x="10851132" y="3662034"/>
                </a:lnTo>
                <a:lnTo>
                  <a:pt x="10793656" y="3662034"/>
                </a:lnTo>
                <a:lnTo>
                  <a:pt x="10323175" y="4132515"/>
                </a:lnTo>
                <a:lnTo>
                  <a:pt x="10762651" y="4571991"/>
                </a:lnTo>
                <a:lnTo>
                  <a:pt x="10710406" y="4571992"/>
                </a:lnTo>
                <a:lnTo>
                  <a:pt x="10297052" y="4158638"/>
                </a:lnTo>
                <a:lnTo>
                  <a:pt x="9883699" y="4571992"/>
                </a:lnTo>
                <a:lnTo>
                  <a:pt x="9831456" y="4571992"/>
                </a:lnTo>
                <a:lnTo>
                  <a:pt x="10270931" y="4132517"/>
                </a:lnTo>
                <a:lnTo>
                  <a:pt x="9800448" y="3662034"/>
                </a:lnTo>
                <a:lnTo>
                  <a:pt x="9742974" y="3662034"/>
                </a:lnTo>
                <a:lnTo>
                  <a:pt x="9272491" y="4132517"/>
                </a:lnTo>
                <a:lnTo>
                  <a:pt x="9711968" y="4571993"/>
                </a:lnTo>
                <a:lnTo>
                  <a:pt x="9659723" y="4571993"/>
                </a:lnTo>
                <a:lnTo>
                  <a:pt x="9246369" y="4158639"/>
                </a:lnTo>
                <a:lnTo>
                  <a:pt x="8833016" y="4571992"/>
                </a:lnTo>
                <a:lnTo>
                  <a:pt x="8780772" y="4571992"/>
                </a:lnTo>
                <a:lnTo>
                  <a:pt x="9220247" y="4132517"/>
                </a:lnTo>
                <a:lnTo>
                  <a:pt x="8749764" y="3662034"/>
                </a:lnTo>
                <a:lnTo>
                  <a:pt x="8692294" y="3662034"/>
                </a:lnTo>
                <a:lnTo>
                  <a:pt x="8221812" y="4132516"/>
                </a:lnTo>
                <a:lnTo>
                  <a:pt x="8661288" y="4571992"/>
                </a:lnTo>
                <a:lnTo>
                  <a:pt x="8609042" y="4571992"/>
                </a:lnTo>
                <a:lnTo>
                  <a:pt x="8195689" y="4158639"/>
                </a:lnTo>
                <a:lnTo>
                  <a:pt x="7782334" y="4571994"/>
                </a:lnTo>
                <a:lnTo>
                  <a:pt x="7730092" y="4571994"/>
                </a:lnTo>
                <a:lnTo>
                  <a:pt x="8169568" y="4132518"/>
                </a:lnTo>
                <a:lnTo>
                  <a:pt x="7699085" y="3662034"/>
                </a:lnTo>
                <a:lnTo>
                  <a:pt x="7641614" y="3662034"/>
                </a:lnTo>
                <a:lnTo>
                  <a:pt x="7171129" y="4132518"/>
                </a:lnTo>
                <a:lnTo>
                  <a:pt x="7610604" y="4571993"/>
                </a:lnTo>
                <a:lnTo>
                  <a:pt x="7558360" y="4571993"/>
                </a:lnTo>
                <a:lnTo>
                  <a:pt x="7145007" y="4158640"/>
                </a:lnTo>
                <a:lnTo>
                  <a:pt x="6731655" y="4571993"/>
                </a:lnTo>
                <a:lnTo>
                  <a:pt x="6679410" y="4571993"/>
                </a:lnTo>
                <a:lnTo>
                  <a:pt x="7118885" y="4132518"/>
                </a:lnTo>
                <a:lnTo>
                  <a:pt x="6648402" y="3662034"/>
                </a:lnTo>
                <a:lnTo>
                  <a:pt x="6590932" y="3662034"/>
                </a:lnTo>
                <a:lnTo>
                  <a:pt x="6120448" y="4132519"/>
                </a:lnTo>
                <a:lnTo>
                  <a:pt x="6559922" y="4571993"/>
                </a:lnTo>
                <a:lnTo>
                  <a:pt x="6507678" y="4571993"/>
                </a:lnTo>
                <a:lnTo>
                  <a:pt x="6094326" y="4158641"/>
                </a:lnTo>
                <a:lnTo>
                  <a:pt x="5680985" y="4571992"/>
                </a:lnTo>
                <a:lnTo>
                  <a:pt x="5628744" y="4571992"/>
                </a:lnTo>
                <a:lnTo>
                  <a:pt x="6068205" y="4132519"/>
                </a:lnTo>
                <a:lnTo>
                  <a:pt x="5597731" y="3662034"/>
                </a:lnTo>
                <a:lnTo>
                  <a:pt x="5540263" y="3662034"/>
                </a:lnTo>
                <a:lnTo>
                  <a:pt x="5069789" y="4132518"/>
                </a:lnTo>
                <a:lnTo>
                  <a:pt x="5509253" y="4571993"/>
                </a:lnTo>
                <a:lnTo>
                  <a:pt x="5457012" y="4571993"/>
                </a:lnTo>
                <a:lnTo>
                  <a:pt x="5043664" y="4158640"/>
                </a:lnTo>
                <a:lnTo>
                  <a:pt x="4630303" y="4571992"/>
                </a:lnTo>
                <a:lnTo>
                  <a:pt x="4578059" y="4571992"/>
                </a:lnTo>
                <a:lnTo>
                  <a:pt x="5017539" y="4132518"/>
                </a:lnTo>
                <a:lnTo>
                  <a:pt x="4547049" y="3662034"/>
                </a:lnTo>
                <a:lnTo>
                  <a:pt x="4489581" y="3662034"/>
                </a:lnTo>
                <a:lnTo>
                  <a:pt x="4019108" y="4132519"/>
                </a:lnTo>
                <a:lnTo>
                  <a:pt x="4458568" y="4571993"/>
                </a:lnTo>
                <a:lnTo>
                  <a:pt x="4406323" y="4571993"/>
                </a:lnTo>
                <a:lnTo>
                  <a:pt x="3992985" y="4158641"/>
                </a:lnTo>
                <a:lnTo>
                  <a:pt x="3579645" y="4571992"/>
                </a:lnTo>
                <a:lnTo>
                  <a:pt x="3527403" y="4571992"/>
                </a:lnTo>
                <a:lnTo>
                  <a:pt x="3966864" y="4132520"/>
                </a:lnTo>
                <a:lnTo>
                  <a:pt x="3496388" y="3662034"/>
                </a:lnTo>
                <a:lnTo>
                  <a:pt x="3438920" y="3662034"/>
                </a:lnTo>
                <a:lnTo>
                  <a:pt x="2968432" y="4132519"/>
                </a:lnTo>
                <a:lnTo>
                  <a:pt x="3407908" y="4571992"/>
                </a:lnTo>
                <a:lnTo>
                  <a:pt x="3355663" y="4571992"/>
                </a:lnTo>
                <a:lnTo>
                  <a:pt x="2942311" y="4158641"/>
                </a:lnTo>
                <a:lnTo>
                  <a:pt x="2528961" y="4571991"/>
                </a:lnTo>
                <a:lnTo>
                  <a:pt x="2476717" y="4571991"/>
                </a:lnTo>
                <a:lnTo>
                  <a:pt x="2916189" y="4132519"/>
                </a:lnTo>
                <a:lnTo>
                  <a:pt x="2445706" y="3662034"/>
                </a:lnTo>
                <a:lnTo>
                  <a:pt x="2388237" y="3662034"/>
                </a:lnTo>
                <a:lnTo>
                  <a:pt x="1917745" y="4132520"/>
                </a:lnTo>
                <a:lnTo>
                  <a:pt x="2357225" y="4571992"/>
                </a:lnTo>
                <a:lnTo>
                  <a:pt x="2304981" y="4571993"/>
                </a:lnTo>
                <a:lnTo>
                  <a:pt x="1891623" y="4158642"/>
                </a:lnTo>
                <a:lnTo>
                  <a:pt x="1478275" y="4571991"/>
                </a:lnTo>
                <a:lnTo>
                  <a:pt x="1426031" y="4571991"/>
                </a:lnTo>
                <a:lnTo>
                  <a:pt x="1865501" y="4132520"/>
                </a:lnTo>
                <a:lnTo>
                  <a:pt x="1395017" y="3662034"/>
                </a:lnTo>
                <a:lnTo>
                  <a:pt x="1337551" y="3662034"/>
                </a:lnTo>
                <a:lnTo>
                  <a:pt x="867066" y="4132521"/>
                </a:lnTo>
                <a:lnTo>
                  <a:pt x="1306536" y="4571992"/>
                </a:lnTo>
                <a:lnTo>
                  <a:pt x="1254292" y="4571992"/>
                </a:lnTo>
                <a:lnTo>
                  <a:pt x="840944" y="4158643"/>
                </a:lnTo>
                <a:lnTo>
                  <a:pt x="427595" y="4571993"/>
                </a:lnTo>
                <a:lnTo>
                  <a:pt x="375351" y="4571993"/>
                </a:lnTo>
                <a:lnTo>
                  <a:pt x="814822" y="4132521"/>
                </a:lnTo>
                <a:lnTo>
                  <a:pt x="344336" y="3662034"/>
                </a:lnTo>
                <a:lnTo>
                  <a:pt x="286870" y="3662034"/>
                </a:lnTo>
                <a:lnTo>
                  <a:pt x="5" y="3948900"/>
                </a:lnTo>
                <a:lnTo>
                  <a:pt x="5" y="3896656"/>
                </a:lnTo>
                <a:lnTo>
                  <a:pt x="258369" y="3638291"/>
                </a:lnTo>
                <a:lnTo>
                  <a:pt x="258369" y="3576066"/>
                </a:lnTo>
                <a:lnTo>
                  <a:pt x="1" y="3317698"/>
                </a:lnTo>
                <a:lnTo>
                  <a:pt x="1" y="3265454"/>
                </a:lnTo>
                <a:lnTo>
                  <a:pt x="285756" y="3551209"/>
                </a:lnTo>
                <a:lnTo>
                  <a:pt x="345451" y="3551209"/>
                </a:lnTo>
                <a:lnTo>
                  <a:pt x="814822" y="3081838"/>
                </a:lnTo>
                <a:lnTo>
                  <a:pt x="343880" y="2610895"/>
                </a:lnTo>
                <a:lnTo>
                  <a:pt x="287328" y="2610895"/>
                </a:lnTo>
                <a:lnTo>
                  <a:pt x="6" y="2898217"/>
                </a:lnTo>
                <a:lnTo>
                  <a:pt x="6" y="2845973"/>
                </a:lnTo>
                <a:lnTo>
                  <a:pt x="258373" y="2587605"/>
                </a:lnTo>
                <a:lnTo>
                  <a:pt x="258373" y="2525388"/>
                </a:lnTo>
                <a:lnTo>
                  <a:pt x="1" y="2267015"/>
                </a:lnTo>
                <a:lnTo>
                  <a:pt x="0" y="2214770"/>
                </a:lnTo>
                <a:lnTo>
                  <a:pt x="285299" y="2500070"/>
                </a:lnTo>
                <a:lnTo>
                  <a:pt x="345909" y="2500070"/>
                </a:lnTo>
                <a:lnTo>
                  <a:pt x="814822" y="2031167"/>
                </a:lnTo>
                <a:lnTo>
                  <a:pt x="341616" y="1557959"/>
                </a:lnTo>
                <a:lnTo>
                  <a:pt x="289593" y="1557959"/>
                </a:lnTo>
                <a:lnTo>
                  <a:pt x="4" y="1847551"/>
                </a:lnTo>
                <a:lnTo>
                  <a:pt x="4" y="1795307"/>
                </a:lnTo>
                <a:lnTo>
                  <a:pt x="258377" y="1536932"/>
                </a:lnTo>
                <a:lnTo>
                  <a:pt x="258377" y="1474721"/>
                </a:lnTo>
                <a:lnTo>
                  <a:pt x="2" y="1216345"/>
                </a:lnTo>
                <a:lnTo>
                  <a:pt x="2" y="1164102"/>
                </a:lnTo>
                <a:lnTo>
                  <a:pt x="283034" y="1447135"/>
                </a:lnTo>
                <a:lnTo>
                  <a:pt x="348175" y="1447135"/>
                </a:lnTo>
                <a:lnTo>
                  <a:pt x="814821" y="980486"/>
                </a:lnTo>
                <a:lnTo>
                  <a:pt x="344401" y="510062"/>
                </a:lnTo>
                <a:lnTo>
                  <a:pt x="286805" y="510062"/>
                </a:lnTo>
                <a:lnTo>
                  <a:pt x="5" y="796868"/>
                </a:lnTo>
                <a:lnTo>
                  <a:pt x="5" y="744628"/>
                </a:lnTo>
                <a:lnTo>
                  <a:pt x="258382" y="486242"/>
                </a:lnTo>
                <a:lnTo>
                  <a:pt x="258382" y="424043"/>
                </a:lnTo>
                <a:lnTo>
                  <a:pt x="3" y="165664"/>
                </a:lnTo>
                <a:lnTo>
                  <a:pt x="3" y="113420"/>
                </a:lnTo>
                <a:lnTo>
                  <a:pt x="285820" y="399237"/>
                </a:lnTo>
                <a:lnTo>
                  <a:pt x="345386" y="399237"/>
                </a:lnTo>
                <a:lnTo>
                  <a:pt x="744622" y="2"/>
                </a:lnTo>
                <a:lnTo>
                  <a:pt x="796865" y="2"/>
                </a:lnTo>
                <a:lnTo>
                  <a:pt x="369206" y="427661"/>
                </a:lnTo>
                <a:lnTo>
                  <a:pt x="369206" y="482624"/>
                </a:lnTo>
                <a:lnTo>
                  <a:pt x="840943" y="954364"/>
                </a:lnTo>
                <a:lnTo>
                  <a:pt x="1309187" y="486116"/>
                </a:lnTo>
                <a:lnTo>
                  <a:pt x="1309187" y="424169"/>
                </a:lnTo>
                <a:lnTo>
                  <a:pt x="885019" y="0"/>
                </a:lnTo>
                <a:lnTo>
                  <a:pt x="937262" y="0"/>
                </a:lnTo>
                <a:lnTo>
                  <a:pt x="1336499" y="399237"/>
                </a:lnTo>
                <a:lnTo>
                  <a:pt x="1396066" y="399237"/>
                </a:lnTo>
                <a:lnTo>
                  <a:pt x="1795300" y="3"/>
                </a:lnTo>
                <a:lnTo>
                  <a:pt x="1847544" y="3"/>
                </a:lnTo>
                <a:lnTo>
                  <a:pt x="1420012" y="427535"/>
                </a:lnTo>
                <a:lnTo>
                  <a:pt x="1420012" y="482750"/>
                </a:lnTo>
                <a:lnTo>
                  <a:pt x="1891623" y="954365"/>
                </a:lnTo>
                <a:lnTo>
                  <a:pt x="2360001" y="485992"/>
                </a:lnTo>
                <a:lnTo>
                  <a:pt x="2360001" y="424295"/>
                </a:lnTo>
                <a:lnTo>
                  <a:pt x="1935698" y="0"/>
                </a:lnTo>
                <a:lnTo>
                  <a:pt x="1987943" y="0"/>
                </a:lnTo>
                <a:lnTo>
                  <a:pt x="2387187" y="399237"/>
                </a:lnTo>
                <a:lnTo>
                  <a:pt x="2446755" y="399237"/>
                </a:lnTo>
                <a:lnTo>
                  <a:pt x="2845991" y="2"/>
                </a:lnTo>
                <a:lnTo>
                  <a:pt x="2898236" y="2"/>
                </a:lnTo>
                <a:lnTo>
                  <a:pt x="2470825" y="427411"/>
                </a:lnTo>
                <a:lnTo>
                  <a:pt x="2470825" y="482875"/>
                </a:lnTo>
                <a:lnTo>
                  <a:pt x="2942310" y="954365"/>
                </a:lnTo>
                <a:lnTo>
                  <a:pt x="3410809" y="485866"/>
                </a:lnTo>
                <a:lnTo>
                  <a:pt x="3410809" y="424419"/>
                </a:lnTo>
                <a:lnTo>
                  <a:pt x="2986386" y="0"/>
                </a:lnTo>
                <a:lnTo>
                  <a:pt x="3038626" y="0"/>
                </a:lnTo>
                <a:lnTo>
                  <a:pt x="3437870" y="399237"/>
                </a:lnTo>
                <a:lnTo>
                  <a:pt x="3497441" y="399237"/>
                </a:lnTo>
                <a:lnTo>
                  <a:pt x="3896667" y="2"/>
                </a:lnTo>
                <a:lnTo>
                  <a:pt x="3948913" y="2"/>
                </a:lnTo>
                <a:lnTo>
                  <a:pt x="3521637" y="427285"/>
                </a:lnTo>
                <a:lnTo>
                  <a:pt x="3521637" y="483001"/>
                </a:lnTo>
                <a:lnTo>
                  <a:pt x="3992987" y="954364"/>
                </a:lnTo>
                <a:lnTo>
                  <a:pt x="4461599" y="485738"/>
                </a:lnTo>
                <a:lnTo>
                  <a:pt x="4461599" y="424543"/>
                </a:lnTo>
                <a:lnTo>
                  <a:pt x="4037068" y="1"/>
                </a:lnTo>
                <a:lnTo>
                  <a:pt x="4089312" y="1"/>
                </a:lnTo>
                <a:lnTo>
                  <a:pt x="4488534" y="399237"/>
                </a:lnTo>
                <a:lnTo>
                  <a:pt x="4548100" y="399237"/>
                </a:lnTo>
                <a:lnTo>
                  <a:pt x="4947332" y="4"/>
                </a:lnTo>
                <a:lnTo>
                  <a:pt x="4999581" y="4"/>
                </a:lnTo>
                <a:lnTo>
                  <a:pt x="4572422" y="427156"/>
                </a:lnTo>
                <a:lnTo>
                  <a:pt x="4572422" y="483126"/>
                </a:lnTo>
                <a:lnTo>
                  <a:pt x="5043667" y="954362"/>
                </a:lnTo>
                <a:lnTo>
                  <a:pt x="5512409" y="485609"/>
                </a:lnTo>
                <a:lnTo>
                  <a:pt x="5512409" y="424674"/>
                </a:lnTo>
                <a:lnTo>
                  <a:pt x="5087742" y="1"/>
                </a:lnTo>
                <a:lnTo>
                  <a:pt x="5139977" y="1"/>
                </a:lnTo>
                <a:lnTo>
                  <a:pt x="5539215" y="399237"/>
                </a:lnTo>
                <a:lnTo>
                  <a:pt x="5598781" y="399237"/>
                </a:lnTo>
                <a:lnTo>
                  <a:pt x="5998007" y="2"/>
                </a:lnTo>
                <a:lnTo>
                  <a:pt x="6050249" y="2"/>
                </a:lnTo>
                <a:lnTo>
                  <a:pt x="5623232" y="427030"/>
                </a:lnTo>
                <a:lnTo>
                  <a:pt x="5623232" y="483255"/>
                </a:lnTo>
                <a:lnTo>
                  <a:pt x="6094326" y="954363"/>
                </a:lnTo>
                <a:lnTo>
                  <a:pt x="6563205" y="485481"/>
                </a:lnTo>
                <a:lnTo>
                  <a:pt x="6563205" y="4247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5F9954D2-3994-4E57-A489-6FC5AE45D0B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CxnSpPr>
        <p:spPr>
          <a:xfrm flipV="1">
            <a:off x="8386842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619704C7-B579-43B7-89ED-555E6619AF9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1" y="0"/>
            <a:ext cx="121889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Título 5">
            <a:extLst>
              <a:ext uri="{FF2B5EF4-FFF2-40B4-BE49-F238E27FC236}">
                <a16:creationId xmlns="" xmlns:a16="http://schemas.microsoft.com/office/drawing/2014/main" id="{FF341DB4-C4E3-4930-B57F-898225501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501" y="640080"/>
            <a:ext cx="4015009" cy="333934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80000"/>
              </a:lnSpc>
            </a:pPr>
            <a:r>
              <a:rPr lang="en-US" sz="2800" spc="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STUDOS DE UTILIZAÇÃO DE </a:t>
            </a:r>
            <a:r>
              <a:rPr lang="en-US" sz="2800" spc="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EDICAMENTOSdemiologia</a:t>
            </a:r>
            <a:endParaRPr lang="en-US" sz="2800" spc="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Subtítulo 7">
            <a:extLst>
              <a:ext uri="{FF2B5EF4-FFF2-40B4-BE49-F238E27FC236}">
                <a16:creationId xmlns="" xmlns:a16="http://schemas.microsoft.com/office/drawing/2014/main" id="{3D0AA66B-8008-4B98-962A-DE6FA41732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8921" y="4315017"/>
            <a:ext cx="4015009" cy="1893939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>
              <a:lnSpc>
                <a:spcPct val="100000"/>
              </a:lnSpc>
              <a:spcAft>
                <a:spcPts val="200"/>
              </a:spcAft>
            </a:pPr>
            <a:r>
              <a:rPr lang="en-US" sz="1600" dirty="0" err="1">
                <a:solidFill>
                  <a:srgbClr val="FFFFFF"/>
                </a:solidFill>
              </a:rPr>
              <a:t>Profa</a:t>
            </a:r>
            <a:r>
              <a:rPr lang="en-US" sz="1600" dirty="0">
                <a:solidFill>
                  <a:srgbClr val="FFFFFF"/>
                </a:solidFill>
              </a:rPr>
              <a:t>. Dra. Adriane Lopes Medeiros Simone</a:t>
            </a:r>
          </a:p>
          <a:p>
            <a:pPr algn="r">
              <a:lnSpc>
                <a:spcPct val="100000"/>
              </a:lnSpc>
              <a:spcAft>
                <a:spcPts val="200"/>
              </a:spcAft>
            </a:pPr>
            <a:r>
              <a:rPr lang="en-US" sz="1600" dirty="0">
                <a:solidFill>
                  <a:srgbClr val="FFFFFF"/>
                </a:solidFill>
              </a:rPr>
              <a:t>03 e 12/03/2020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4E4CA735-62CB-4665-AA7D-4A259E3F7CE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CxnSpPr>
        <p:spPr>
          <a:xfrm>
            <a:off x="1039130" y="4156010"/>
            <a:ext cx="3566160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: Shape 22">
            <a:extLst>
              <a:ext uri="{FF2B5EF4-FFF2-40B4-BE49-F238E27FC236}">
                <a16:creationId xmlns="" xmlns:a16="http://schemas.microsoft.com/office/drawing/2014/main" id="{F4D2EDF8-0FA9-440D-97EE-10B2352DB92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5398381" y="8"/>
            <a:ext cx="6793622" cy="6858004"/>
          </a:xfrm>
          <a:custGeom>
            <a:avLst/>
            <a:gdLst>
              <a:gd name="connsiteX0" fmla="*/ 6793614 w 6793622"/>
              <a:gd name="connsiteY0" fmla="*/ 6469259 h 6858004"/>
              <a:gd name="connsiteX1" fmla="*/ 6793612 w 6793622"/>
              <a:gd name="connsiteY1" fmla="*/ 6547627 h 6858004"/>
              <a:gd name="connsiteX2" fmla="*/ 6483236 w 6793622"/>
              <a:gd name="connsiteY2" fmla="*/ 6858001 h 6858004"/>
              <a:gd name="connsiteX3" fmla="*/ 6404870 w 6793622"/>
              <a:gd name="connsiteY3" fmla="*/ 6858003 h 6858004"/>
              <a:gd name="connsiteX4" fmla="*/ 6231528 w 6793622"/>
              <a:gd name="connsiteY4" fmla="*/ 6115236 h 6858004"/>
              <a:gd name="connsiteX5" fmla="*/ 6397766 w 6793622"/>
              <a:gd name="connsiteY5" fmla="*/ 6115236 h 6858004"/>
              <a:gd name="connsiteX6" fmla="*/ 6397766 w 6793622"/>
              <a:gd name="connsiteY6" fmla="*/ 6281474 h 6858004"/>
              <a:gd name="connsiteX7" fmla="*/ 6231528 w 6793622"/>
              <a:gd name="connsiteY7" fmla="*/ 6281474 h 6858004"/>
              <a:gd name="connsiteX8" fmla="*/ 4655306 w 6793622"/>
              <a:gd name="connsiteY8" fmla="*/ 6115236 h 6858004"/>
              <a:gd name="connsiteX9" fmla="*/ 4821544 w 6793622"/>
              <a:gd name="connsiteY9" fmla="*/ 6115236 h 6858004"/>
              <a:gd name="connsiteX10" fmla="*/ 4821544 w 6793622"/>
              <a:gd name="connsiteY10" fmla="*/ 6281474 h 6858004"/>
              <a:gd name="connsiteX11" fmla="*/ 4655306 w 6793622"/>
              <a:gd name="connsiteY11" fmla="*/ 6281474 h 6858004"/>
              <a:gd name="connsiteX12" fmla="*/ 3079091 w 6793622"/>
              <a:gd name="connsiteY12" fmla="*/ 6115236 h 6858004"/>
              <a:gd name="connsiteX13" fmla="*/ 3245329 w 6793622"/>
              <a:gd name="connsiteY13" fmla="*/ 6115236 h 6858004"/>
              <a:gd name="connsiteX14" fmla="*/ 3245329 w 6793622"/>
              <a:gd name="connsiteY14" fmla="*/ 6281474 h 6858004"/>
              <a:gd name="connsiteX15" fmla="*/ 3079091 w 6793622"/>
              <a:gd name="connsiteY15" fmla="*/ 6281474 h 6858004"/>
              <a:gd name="connsiteX16" fmla="*/ 1502876 w 6793622"/>
              <a:gd name="connsiteY16" fmla="*/ 6115236 h 6858004"/>
              <a:gd name="connsiteX17" fmla="*/ 1669114 w 6793622"/>
              <a:gd name="connsiteY17" fmla="*/ 6115236 h 6858004"/>
              <a:gd name="connsiteX18" fmla="*/ 1669114 w 6793622"/>
              <a:gd name="connsiteY18" fmla="*/ 6281474 h 6858004"/>
              <a:gd name="connsiteX19" fmla="*/ 1502876 w 6793622"/>
              <a:gd name="connsiteY19" fmla="*/ 6281474 h 6858004"/>
              <a:gd name="connsiteX20" fmla="*/ 0 w 6793622"/>
              <a:gd name="connsiteY20" fmla="*/ 6115236 h 6858004"/>
              <a:gd name="connsiteX21" fmla="*/ 92899 w 6793622"/>
              <a:gd name="connsiteY21" fmla="*/ 6115236 h 6858004"/>
              <a:gd name="connsiteX22" fmla="*/ 92899 w 6793622"/>
              <a:gd name="connsiteY22" fmla="*/ 6281474 h 6858004"/>
              <a:gd name="connsiteX23" fmla="*/ 0 w 6793622"/>
              <a:gd name="connsiteY23" fmla="*/ 6281474 h 6858004"/>
              <a:gd name="connsiteX24" fmla="*/ 5443414 w 6793622"/>
              <a:gd name="connsiteY24" fmla="*/ 5326824 h 6858004"/>
              <a:gd name="connsiteX25" fmla="*/ 5609652 w 6793622"/>
              <a:gd name="connsiteY25" fmla="*/ 5326824 h 6858004"/>
              <a:gd name="connsiteX26" fmla="*/ 5609652 w 6793622"/>
              <a:gd name="connsiteY26" fmla="*/ 5493062 h 6858004"/>
              <a:gd name="connsiteX27" fmla="*/ 5443414 w 6793622"/>
              <a:gd name="connsiteY27" fmla="*/ 5493062 h 6858004"/>
              <a:gd name="connsiteX28" fmla="*/ 3867199 w 6793622"/>
              <a:gd name="connsiteY28" fmla="*/ 5326824 h 6858004"/>
              <a:gd name="connsiteX29" fmla="*/ 4033437 w 6793622"/>
              <a:gd name="connsiteY29" fmla="*/ 5326824 h 6858004"/>
              <a:gd name="connsiteX30" fmla="*/ 4033437 w 6793622"/>
              <a:gd name="connsiteY30" fmla="*/ 5493062 h 6858004"/>
              <a:gd name="connsiteX31" fmla="*/ 3867199 w 6793622"/>
              <a:gd name="connsiteY31" fmla="*/ 5493062 h 6858004"/>
              <a:gd name="connsiteX32" fmla="*/ 2290984 w 6793622"/>
              <a:gd name="connsiteY32" fmla="*/ 5326824 h 6858004"/>
              <a:gd name="connsiteX33" fmla="*/ 2457222 w 6793622"/>
              <a:gd name="connsiteY33" fmla="*/ 5326824 h 6858004"/>
              <a:gd name="connsiteX34" fmla="*/ 2457222 w 6793622"/>
              <a:gd name="connsiteY34" fmla="*/ 5493062 h 6858004"/>
              <a:gd name="connsiteX35" fmla="*/ 2290984 w 6793622"/>
              <a:gd name="connsiteY35" fmla="*/ 5493062 h 6858004"/>
              <a:gd name="connsiteX36" fmla="*/ 714769 w 6793622"/>
              <a:gd name="connsiteY36" fmla="*/ 5326824 h 6858004"/>
              <a:gd name="connsiteX37" fmla="*/ 881007 w 6793622"/>
              <a:gd name="connsiteY37" fmla="*/ 5326824 h 6858004"/>
              <a:gd name="connsiteX38" fmla="*/ 881007 w 6793622"/>
              <a:gd name="connsiteY38" fmla="*/ 5493062 h 6858004"/>
              <a:gd name="connsiteX39" fmla="*/ 714769 w 6793622"/>
              <a:gd name="connsiteY39" fmla="*/ 5493062 h 6858004"/>
              <a:gd name="connsiteX40" fmla="*/ 799177 w 6793622"/>
              <a:gd name="connsiteY40" fmla="*/ 4661948 h 6858004"/>
              <a:gd name="connsiteX41" fmla="*/ 92899 w 6793622"/>
              <a:gd name="connsiteY41" fmla="*/ 5368225 h 6858004"/>
              <a:gd name="connsiteX42" fmla="*/ 92899 w 6793622"/>
              <a:gd name="connsiteY42" fmla="*/ 5453322 h 6858004"/>
              <a:gd name="connsiteX43" fmla="*/ 799180 w 6793622"/>
              <a:gd name="connsiteY43" fmla="*/ 6159604 h 6858004"/>
              <a:gd name="connsiteX44" fmla="*/ 1502876 w 6793622"/>
              <a:gd name="connsiteY44" fmla="*/ 5455908 h 6858004"/>
              <a:gd name="connsiteX45" fmla="*/ 1502876 w 6793622"/>
              <a:gd name="connsiteY45" fmla="*/ 5365647 h 6858004"/>
              <a:gd name="connsiteX46" fmla="*/ 5527254 w 6793622"/>
              <a:gd name="connsiteY46" fmla="*/ 4661945 h 6858004"/>
              <a:gd name="connsiteX47" fmla="*/ 4821544 w 6793622"/>
              <a:gd name="connsiteY47" fmla="*/ 5367652 h 6858004"/>
              <a:gd name="connsiteX48" fmla="*/ 4821544 w 6793622"/>
              <a:gd name="connsiteY48" fmla="*/ 5453894 h 6858004"/>
              <a:gd name="connsiteX49" fmla="*/ 5527256 w 6793622"/>
              <a:gd name="connsiteY49" fmla="*/ 6159606 h 6858004"/>
              <a:gd name="connsiteX50" fmla="*/ 6231528 w 6793622"/>
              <a:gd name="connsiteY50" fmla="*/ 5455334 h 6858004"/>
              <a:gd name="connsiteX51" fmla="*/ 6231528 w 6793622"/>
              <a:gd name="connsiteY51" fmla="*/ 5366218 h 6858004"/>
              <a:gd name="connsiteX52" fmla="*/ 2375205 w 6793622"/>
              <a:gd name="connsiteY52" fmla="*/ 4661945 h 6858004"/>
              <a:gd name="connsiteX53" fmla="*/ 1669114 w 6793622"/>
              <a:gd name="connsiteY53" fmla="*/ 5368035 h 6858004"/>
              <a:gd name="connsiteX54" fmla="*/ 1669114 w 6793622"/>
              <a:gd name="connsiteY54" fmla="*/ 5453517 h 6858004"/>
              <a:gd name="connsiteX55" fmla="*/ 2375200 w 6793622"/>
              <a:gd name="connsiteY55" fmla="*/ 6159604 h 6858004"/>
              <a:gd name="connsiteX56" fmla="*/ 3079091 w 6793622"/>
              <a:gd name="connsiteY56" fmla="*/ 5455713 h 6858004"/>
              <a:gd name="connsiteX57" fmla="*/ 3079091 w 6793622"/>
              <a:gd name="connsiteY57" fmla="*/ 5365833 h 6858004"/>
              <a:gd name="connsiteX58" fmla="*/ 3951229 w 6793622"/>
              <a:gd name="connsiteY58" fmla="*/ 4661942 h 6858004"/>
              <a:gd name="connsiteX59" fmla="*/ 3245329 w 6793622"/>
              <a:gd name="connsiteY59" fmla="*/ 5367841 h 6858004"/>
              <a:gd name="connsiteX60" fmla="*/ 3245329 w 6793622"/>
              <a:gd name="connsiteY60" fmla="*/ 5453702 h 6858004"/>
              <a:gd name="connsiteX61" fmla="*/ 3951231 w 6793622"/>
              <a:gd name="connsiteY61" fmla="*/ 6159603 h 6858004"/>
              <a:gd name="connsiteX62" fmla="*/ 4655306 w 6793622"/>
              <a:gd name="connsiteY62" fmla="*/ 5455527 h 6858004"/>
              <a:gd name="connsiteX63" fmla="*/ 4655306 w 6793622"/>
              <a:gd name="connsiteY63" fmla="*/ 5366019 h 6858004"/>
              <a:gd name="connsiteX64" fmla="*/ 6231528 w 6793622"/>
              <a:gd name="connsiteY64" fmla="*/ 4541010 h 6858004"/>
              <a:gd name="connsiteX65" fmla="*/ 6397766 w 6793622"/>
              <a:gd name="connsiteY65" fmla="*/ 4541010 h 6858004"/>
              <a:gd name="connsiteX66" fmla="*/ 6397766 w 6793622"/>
              <a:gd name="connsiteY66" fmla="*/ 4707248 h 6858004"/>
              <a:gd name="connsiteX67" fmla="*/ 6231528 w 6793622"/>
              <a:gd name="connsiteY67" fmla="*/ 4707248 h 6858004"/>
              <a:gd name="connsiteX68" fmla="*/ 4655306 w 6793622"/>
              <a:gd name="connsiteY68" fmla="*/ 4541010 h 6858004"/>
              <a:gd name="connsiteX69" fmla="*/ 4821544 w 6793622"/>
              <a:gd name="connsiteY69" fmla="*/ 4541010 h 6858004"/>
              <a:gd name="connsiteX70" fmla="*/ 4821544 w 6793622"/>
              <a:gd name="connsiteY70" fmla="*/ 4707248 h 6858004"/>
              <a:gd name="connsiteX71" fmla="*/ 4655306 w 6793622"/>
              <a:gd name="connsiteY71" fmla="*/ 4707248 h 6858004"/>
              <a:gd name="connsiteX72" fmla="*/ 3079091 w 6793622"/>
              <a:gd name="connsiteY72" fmla="*/ 4541010 h 6858004"/>
              <a:gd name="connsiteX73" fmla="*/ 3245329 w 6793622"/>
              <a:gd name="connsiteY73" fmla="*/ 4541010 h 6858004"/>
              <a:gd name="connsiteX74" fmla="*/ 3245329 w 6793622"/>
              <a:gd name="connsiteY74" fmla="*/ 4707248 h 6858004"/>
              <a:gd name="connsiteX75" fmla="*/ 3079091 w 6793622"/>
              <a:gd name="connsiteY75" fmla="*/ 4707248 h 6858004"/>
              <a:gd name="connsiteX76" fmla="*/ 1502876 w 6793622"/>
              <a:gd name="connsiteY76" fmla="*/ 4541010 h 6858004"/>
              <a:gd name="connsiteX77" fmla="*/ 1669114 w 6793622"/>
              <a:gd name="connsiteY77" fmla="*/ 4541010 h 6858004"/>
              <a:gd name="connsiteX78" fmla="*/ 1669114 w 6793622"/>
              <a:gd name="connsiteY78" fmla="*/ 4707248 h 6858004"/>
              <a:gd name="connsiteX79" fmla="*/ 1502876 w 6793622"/>
              <a:gd name="connsiteY79" fmla="*/ 4707248 h 6858004"/>
              <a:gd name="connsiteX80" fmla="*/ 0 w 6793622"/>
              <a:gd name="connsiteY80" fmla="*/ 4541010 h 6858004"/>
              <a:gd name="connsiteX81" fmla="*/ 92899 w 6793622"/>
              <a:gd name="connsiteY81" fmla="*/ 4541010 h 6858004"/>
              <a:gd name="connsiteX82" fmla="*/ 92899 w 6793622"/>
              <a:gd name="connsiteY82" fmla="*/ 4707248 h 6858004"/>
              <a:gd name="connsiteX83" fmla="*/ 0 w 6793622"/>
              <a:gd name="connsiteY83" fmla="*/ 4707248 h 6858004"/>
              <a:gd name="connsiteX84" fmla="*/ 4696822 w 6793622"/>
              <a:gd name="connsiteY84" fmla="*/ 3916350 h 6858004"/>
              <a:gd name="connsiteX85" fmla="*/ 3990411 w 6793622"/>
              <a:gd name="connsiteY85" fmla="*/ 4622760 h 6858004"/>
              <a:gd name="connsiteX86" fmla="*/ 4694473 w 6793622"/>
              <a:gd name="connsiteY86" fmla="*/ 5326824 h 6858004"/>
              <a:gd name="connsiteX87" fmla="*/ 4784010 w 6793622"/>
              <a:gd name="connsiteY87" fmla="*/ 5326824 h 6858004"/>
              <a:gd name="connsiteX88" fmla="*/ 5488070 w 6793622"/>
              <a:gd name="connsiteY88" fmla="*/ 4622762 h 6858004"/>
              <a:gd name="connsiteX89" fmla="*/ 4781659 w 6793622"/>
              <a:gd name="connsiteY89" fmla="*/ 3916350 h 6858004"/>
              <a:gd name="connsiteX90" fmla="*/ 3120799 w 6793622"/>
              <a:gd name="connsiteY90" fmla="*/ 3916350 h 6858004"/>
              <a:gd name="connsiteX91" fmla="*/ 2414388 w 6793622"/>
              <a:gd name="connsiteY91" fmla="*/ 4622760 h 6858004"/>
              <a:gd name="connsiteX92" fmla="*/ 3118451 w 6793622"/>
              <a:gd name="connsiteY92" fmla="*/ 5326824 h 6858004"/>
              <a:gd name="connsiteX93" fmla="*/ 3207981 w 6793622"/>
              <a:gd name="connsiteY93" fmla="*/ 5326824 h 6858004"/>
              <a:gd name="connsiteX94" fmla="*/ 3912046 w 6793622"/>
              <a:gd name="connsiteY94" fmla="*/ 4622759 h 6858004"/>
              <a:gd name="connsiteX95" fmla="*/ 3205636 w 6793622"/>
              <a:gd name="connsiteY95" fmla="*/ 3916350 h 6858004"/>
              <a:gd name="connsiteX96" fmla="*/ 1544776 w 6793622"/>
              <a:gd name="connsiteY96" fmla="*/ 3916350 h 6858004"/>
              <a:gd name="connsiteX97" fmla="*/ 838360 w 6793622"/>
              <a:gd name="connsiteY97" fmla="*/ 4622765 h 6858004"/>
              <a:gd name="connsiteX98" fmla="*/ 1542419 w 6793622"/>
              <a:gd name="connsiteY98" fmla="*/ 5326824 h 6858004"/>
              <a:gd name="connsiteX99" fmla="*/ 1631959 w 6793622"/>
              <a:gd name="connsiteY99" fmla="*/ 5326824 h 6858004"/>
              <a:gd name="connsiteX100" fmla="*/ 2336021 w 6793622"/>
              <a:gd name="connsiteY100" fmla="*/ 4622762 h 6858004"/>
              <a:gd name="connsiteX101" fmla="*/ 1629610 w 6793622"/>
              <a:gd name="connsiteY101" fmla="*/ 3916350 h 6858004"/>
              <a:gd name="connsiteX102" fmla="*/ 5443414 w 6793622"/>
              <a:gd name="connsiteY102" fmla="*/ 3750112 h 6858004"/>
              <a:gd name="connsiteX103" fmla="*/ 5609652 w 6793622"/>
              <a:gd name="connsiteY103" fmla="*/ 3750112 h 6858004"/>
              <a:gd name="connsiteX104" fmla="*/ 5609652 w 6793622"/>
              <a:gd name="connsiteY104" fmla="*/ 3916350 h 6858004"/>
              <a:gd name="connsiteX105" fmla="*/ 5443414 w 6793622"/>
              <a:gd name="connsiteY105" fmla="*/ 3916350 h 6858004"/>
              <a:gd name="connsiteX106" fmla="*/ 3867199 w 6793622"/>
              <a:gd name="connsiteY106" fmla="*/ 3750112 h 6858004"/>
              <a:gd name="connsiteX107" fmla="*/ 4033437 w 6793622"/>
              <a:gd name="connsiteY107" fmla="*/ 3750112 h 6858004"/>
              <a:gd name="connsiteX108" fmla="*/ 4033437 w 6793622"/>
              <a:gd name="connsiteY108" fmla="*/ 3916350 h 6858004"/>
              <a:gd name="connsiteX109" fmla="*/ 3867199 w 6793622"/>
              <a:gd name="connsiteY109" fmla="*/ 3916350 h 6858004"/>
              <a:gd name="connsiteX110" fmla="*/ 2290984 w 6793622"/>
              <a:gd name="connsiteY110" fmla="*/ 3750112 h 6858004"/>
              <a:gd name="connsiteX111" fmla="*/ 2457222 w 6793622"/>
              <a:gd name="connsiteY111" fmla="*/ 3750112 h 6858004"/>
              <a:gd name="connsiteX112" fmla="*/ 2457222 w 6793622"/>
              <a:gd name="connsiteY112" fmla="*/ 3916350 h 6858004"/>
              <a:gd name="connsiteX113" fmla="*/ 2290984 w 6793622"/>
              <a:gd name="connsiteY113" fmla="*/ 3916350 h 6858004"/>
              <a:gd name="connsiteX114" fmla="*/ 714769 w 6793622"/>
              <a:gd name="connsiteY114" fmla="*/ 3750112 h 6858004"/>
              <a:gd name="connsiteX115" fmla="*/ 881007 w 6793622"/>
              <a:gd name="connsiteY115" fmla="*/ 3750112 h 6858004"/>
              <a:gd name="connsiteX116" fmla="*/ 881007 w 6793622"/>
              <a:gd name="connsiteY116" fmla="*/ 3916350 h 6858004"/>
              <a:gd name="connsiteX117" fmla="*/ 714769 w 6793622"/>
              <a:gd name="connsiteY117" fmla="*/ 3916350 h 6858004"/>
              <a:gd name="connsiteX118" fmla="*/ 3951229 w 6793622"/>
              <a:gd name="connsiteY118" fmla="*/ 3085938 h 6858004"/>
              <a:gd name="connsiteX119" fmla="*/ 3245329 w 6793622"/>
              <a:gd name="connsiteY119" fmla="*/ 3791820 h 6858004"/>
              <a:gd name="connsiteX120" fmla="*/ 3245329 w 6793622"/>
              <a:gd name="connsiteY120" fmla="*/ 3877680 h 6858004"/>
              <a:gd name="connsiteX121" fmla="*/ 3951228 w 6793622"/>
              <a:gd name="connsiteY121" fmla="*/ 4583578 h 6858004"/>
              <a:gd name="connsiteX122" fmla="*/ 4655306 w 6793622"/>
              <a:gd name="connsiteY122" fmla="*/ 3879499 h 6858004"/>
              <a:gd name="connsiteX123" fmla="*/ 4655306 w 6793622"/>
              <a:gd name="connsiteY123" fmla="*/ 3789997 h 6858004"/>
              <a:gd name="connsiteX124" fmla="*/ 2375206 w 6793622"/>
              <a:gd name="connsiteY124" fmla="*/ 3085938 h 6858004"/>
              <a:gd name="connsiteX125" fmla="*/ 1669114 w 6793622"/>
              <a:gd name="connsiteY125" fmla="*/ 3792010 h 6858004"/>
              <a:gd name="connsiteX126" fmla="*/ 1669114 w 6793622"/>
              <a:gd name="connsiteY126" fmla="*/ 3877486 h 6858004"/>
              <a:gd name="connsiteX127" fmla="*/ 2375206 w 6793622"/>
              <a:gd name="connsiteY127" fmla="*/ 4583578 h 6858004"/>
              <a:gd name="connsiteX128" fmla="*/ 3079091 w 6793622"/>
              <a:gd name="connsiteY128" fmla="*/ 3879693 h 6858004"/>
              <a:gd name="connsiteX129" fmla="*/ 3079091 w 6793622"/>
              <a:gd name="connsiteY129" fmla="*/ 3789805 h 6858004"/>
              <a:gd name="connsiteX130" fmla="*/ 799179 w 6793622"/>
              <a:gd name="connsiteY130" fmla="*/ 3085938 h 6858004"/>
              <a:gd name="connsiteX131" fmla="*/ 92899 w 6793622"/>
              <a:gd name="connsiteY131" fmla="*/ 3792199 h 6858004"/>
              <a:gd name="connsiteX132" fmla="*/ 92899 w 6793622"/>
              <a:gd name="connsiteY132" fmla="*/ 3877303 h 6858004"/>
              <a:gd name="connsiteX133" fmla="*/ 799177 w 6793622"/>
              <a:gd name="connsiteY133" fmla="*/ 4583580 h 6858004"/>
              <a:gd name="connsiteX134" fmla="*/ 1502876 w 6793622"/>
              <a:gd name="connsiteY134" fmla="*/ 3879880 h 6858004"/>
              <a:gd name="connsiteX135" fmla="*/ 1502876 w 6793622"/>
              <a:gd name="connsiteY135" fmla="*/ 3789616 h 6858004"/>
              <a:gd name="connsiteX136" fmla="*/ 5527256 w 6793622"/>
              <a:gd name="connsiteY136" fmla="*/ 3085935 h 6858004"/>
              <a:gd name="connsiteX137" fmla="*/ 4821544 w 6793622"/>
              <a:gd name="connsiteY137" fmla="*/ 3791628 h 6858004"/>
              <a:gd name="connsiteX138" fmla="*/ 4821544 w 6793622"/>
              <a:gd name="connsiteY138" fmla="*/ 3877869 h 6858004"/>
              <a:gd name="connsiteX139" fmla="*/ 5527254 w 6793622"/>
              <a:gd name="connsiteY139" fmla="*/ 4583578 h 6858004"/>
              <a:gd name="connsiteX140" fmla="*/ 6231528 w 6793622"/>
              <a:gd name="connsiteY140" fmla="*/ 3879306 h 6858004"/>
              <a:gd name="connsiteX141" fmla="*/ 6231528 w 6793622"/>
              <a:gd name="connsiteY141" fmla="*/ 3790188 h 6858004"/>
              <a:gd name="connsiteX142" fmla="*/ 6231528 w 6793622"/>
              <a:gd name="connsiteY142" fmla="*/ 2960178 h 6858004"/>
              <a:gd name="connsiteX143" fmla="*/ 6397766 w 6793622"/>
              <a:gd name="connsiteY143" fmla="*/ 2960178 h 6858004"/>
              <a:gd name="connsiteX144" fmla="*/ 6397766 w 6793622"/>
              <a:gd name="connsiteY144" fmla="*/ 3126416 h 6858004"/>
              <a:gd name="connsiteX145" fmla="*/ 6231528 w 6793622"/>
              <a:gd name="connsiteY145" fmla="*/ 3126416 h 6858004"/>
              <a:gd name="connsiteX146" fmla="*/ 4655306 w 6793622"/>
              <a:gd name="connsiteY146" fmla="*/ 2960178 h 6858004"/>
              <a:gd name="connsiteX147" fmla="*/ 4821544 w 6793622"/>
              <a:gd name="connsiteY147" fmla="*/ 2960178 h 6858004"/>
              <a:gd name="connsiteX148" fmla="*/ 4821544 w 6793622"/>
              <a:gd name="connsiteY148" fmla="*/ 3126416 h 6858004"/>
              <a:gd name="connsiteX149" fmla="*/ 4655306 w 6793622"/>
              <a:gd name="connsiteY149" fmla="*/ 3126416 h 6858004"/>
              <a:gd name="connsiteX150" fmla="*/ 3079091 w 6793622"/>
              <a:gd name="connsiteY150" fmla="*/ 2960178 h 6858004"/>
              <a:gd name="connsiteX151" fmla="*/ 3245329 w 6793622"/>
              <a:gd name="connsiteY151" fmla="*/ 2960178 h 6858004"/>
              <a:gd name="connsiteX152" fmla="*/ 3245329 w 6793622"/>
              <a:gd name="connsiteY152" fmla="*/ 3126416 h 6858004"/>
              <a:gd name="connsiteX153" fmla="*/ 3079091 w 6793622"/>
              <a:gd name="connsiteY153" fmla="*/ 3126416 h 6858004"/>
              <a:gd name="connsiteX154" fmla="*/ 1502876 w 6793622"/>
              <a:gd name="connsiteY154" fmla="*/ 2960178 h 6858004"/>
              <a:gd name="connsiteX155" fmla="*/ 1669114 w 6793622"/>
              <a:gd name="connsiteY155" fmla="*/ 2960178 h 6858004"/>
              <a:gd name="connsiteX156" fmla="*/ 1669114 w 6793622"/>
              <a:gd name="connsiteY156" fmla="*/ 3126416 h 6858004"/>
              <a:gd name="connsiteX157" fmla="*/ 1502876 w 6793622"/>
              <a:gd name="connsiteY157" fmla="*/ 3126416 h 6858004"/>
              <a:gd name="connsiteX158" fmla="*/ 0 w 6793622"/>
              <a:gd name="connsiteY158" fmla="*/ 2960178 h 6858004"/>
              <a:gd name="connsiteX159" fmla="*/ 92899 w 6793622"/>
              <a:gd name="connsiteY159" fmla="*/ 2960178 h 6858004"/>
              <a:gd name="connsiteX160" fmla="*/ 92899 w 6793622"/>
              <a:gd name="connsiteY160" fmla="*/ 3126416 h 6858004"/>
              <a:gd name="connsiteX161" fmla="*/ 0 w 6793622"/>
              <a:gd name="connsiteY161" fmla="*/ 3126416 h 6858004"/>
              <a:gd name="connsiteX162" fmla="*/ 4700225 w 6793622"/>
              <a:gd name="connsiteY162" fmla="*/ 2336942 h 6858004"/>
              <a:gd name="connsiteX163" fmla="*/ 3990412 w 6793622"/>
              <a:gd name="connsiteY163" fmla="*/ 3046755 h 6858004"/>
              <a:gd name="connsiteX164" fmla="*/ 4693787 w 6793622"/>
              <a:gd name="connsiteY164" fmla="*/ 3750112 h 6858004"/>
              <a:gd name="connsiteX165" fmla="*/ 4784695 w 6793622"/>
              <a:gd name="connsiteY165" fmla="*/ 3750112 h 6858004"/>
              <a:gd name="connsiteX166" fmla="*/ 5488074 w 6793622"/>
              <a:gd name="connsiteY166" fmla="*/ 3046752 h 6858004"/>
              <a:gd name="connsiteX167" fmla="*/ 4778265 w 6793622"/>
              <a:gd name="connsiteY167" fmla="*/ 2336942 h 6858004"/>
              <a:gd name="connsiteX168" fmla="*/ 3124202 w 6793622"/>
              <a:gd name="connsiteY168" fmla="*/ 2336942 h 6858004"/>
              <a:gd name="connsiteX169" fmla="*/ 2414388 w 6793622"/>
              <a:gd name="connsiteY169" fmla="*/ 3046757 h 6858004"/>
              <a:gd name="connsiteX170" fmla="*/ 3117760 w 6793622"/>
              <a:gd name="connsiteY170" fmla="*/ 3750112 h 6858004"/>
              <a:gd name="connsiteX171" fmla="*/ 3208672 w 6793622"/>
              <a:gd name="connsiteY171" fmla="*/ 3750112 h 6858004"/>
              <a:gd name="connsiteX172" fmla="*/ 3912046 w 6793622"/>
              <a:gd name="connsiteY172" fmla="*/ 3046757 h 6858004"/>
              <a:gd name="connsiteX173" fmla="*/ 3202233 w 6793622"/>
              <a:gd name="connsiteY173" fmla="*/ 2336942 h 6858004"/>
              <a:gd name="connsiteX174" fmla="*/ 1548173 w 6793622"/>
              <a:gd name="connsiteY174" fmla="*/ 2336942 h 6858004"/>
              <a:gd name="connsiteX175" fmla="*/ 838362 w 6793622"/>
              <a:gd name="connsiteY175" fmla="*/ 3046755 h 6858004"/>
              <a:gd name="connsiteX176" fmla="*/ 1541740 w 6793622"/>
              <a:gd name="connsiteY176" fmla="*/ 3750112 h 6858004"/>
              <a:gd name="connsiteX177" fmla="*/ 1632646 w 6793622"/>
              <a:gd name="connsiteY177" fmla="*/ 3750112 h 6858004"/>
              <a:gd name="connsiteX178" fmla="*/ 2336021 w 6793622"/>
              <a:gd name="connsiteY178" fmla="*/ 3046755 h 6858004"/>
              <a:gd name="connsiteX179" fmla="*/ 1626210 w 6793622"/>
              <a:gd name="connsiteY179" fmla="*/ 2336942 h 6858004"/>
              <a:gd name="connsiteX180" fmla="*/ 5443414 w 6793622"/>
              <a:gd name="connsiteY180" fmla="*/ 2170704 h 6858004"/>
              <a:gd name="connsiteX181" fmla="*/ 5609652 w 6793622"/>
              <a:gd name="connsiteY181" fmla="*/ 2170704 h 6858004"/>
              <a:gd name="connsiteX182" fmla="*/ 5609652 w 6793622"/>
              <a:gd name="connsiteY182" fmla="*/ 2336940 h 6858004"/>
              <a:gd name="connsiteX183" fmla="*/ 5443414 w 6793622"/>
              <a:gd name="connsiteY183" fmla="*/ 2336940 h 6858004"/>
              <a:gd name="connsiteX184" fmla="*/ 3867199 w 6793622"/>
              <a:gd name="connsiteY184" fmla="*/ 2170704 h 6858004"/>
              <a:gd name="connsiteX185" fmla="*/ 4033437 w 6793622"/>
              <a:gd name="connsiteY185" fmla="*/ 2170704 h 6858004"/>
              <a:gd name="connsiteX186" fmla="*/ 4033437 w 6793622"/>
              <a:gd name="connsiteY186" fmla="*/ 2336940 h 6858004"/>
              <a:gd name="connsiteX187" fmla="*/ 3867199 w 6793622"/>
              <a:gd name="connsiteY187" fmla="*/ 2336940 h 6858004"/>
              <a:gd name="connsiteX188" fmla="*/ 2290984 w 6793622"/>
              <a:gd name="connsiteY188" fmla="*/ 2170704 h 6858004"/>
              <a:gd name="connsiteX189" fmla="*/ 2457222 w 6793622"/>
              <a:gd name="connsiteY189" fmla="*/ 2170704 h 6858004"/>
              <a:gd name="connsiteX190" fmla="*/ 2457222 w 6793622"/>
              <a:gd name="connsiteY190" fmla="*/ 2336942 h 6858004"/>
              <a:gd name="connsiteX191" fmla="*/ 2290984 w 6793622"/>
              <a:gd name="connsiteY191" fmla="*/ 2336942 h 6858004"/>
              <a:gd name="connsiteX192" fmla="*/ 714769 w 6793622"/>
              <a:gd name="connsiteY192" fmla="*/ 2170704 h 6858004"/>
              <a:gd name="connsiteX193" fmla="*/ 881007 w 6793622"/>
              <a:gd name="connsiteY193" fmla="*/ 2170704 h 6858004"/>
              <a:gd name="connsiteX194" fmla="*/ 881007 w 6793622"/>
              <a:gd name="connsiteY194" fmla="*/ 2336942 h 6858004"/>
              <a:gd name="connsiteX195" fmla="*/ 714769 w 6793622"/>
              <a:gd name="connsiteY195" fmla="*/ 2336942 h 6858004"/>
              <a:gd name="connsiteX196" fmla="*/ 5527256 w 6793622"/>
              <a:gd name="connsiteY196" fmla="*/ 1509909 h 6858004"/>
              <a:gd name="connsiteX197" fmla="*/ 4821544 w 6793622"/>
              <a:gd name="connsiteY197" fmla="*/ 2215623 h 6858004"/>
              <a:gd name="connsiteX198" fmla="*/ 4821544 w 6793622"/>
              <a:gd name="connsiteY198" fmla="*/ 2301855 h 6858004"/>
              <a:gd name="connsiteX199" fmla="*/ 5527256 w 6793622"/>
              <a:gd name="connsiteY199" fmla="*/ 3007568 h 6858004"/>
              <a:gd name="connsiteX200" fmla="*/ 6231528 w 6793622"/>
              <a:gd name="connsiteY200" fmla="*/ 2303297 h 6858004"/>
              <a:gd name="connsiteX201" fmla="*/ 6231528 w 6793622"/>
              <a:gd name="connsiteY201" fmla="*/ 2214185 h 6858004"/>
              <a:gd name="connsiteX202" fmla="*/ 2375203 w 6793622"/>
              <a:gd name="connsiteY202" fmla="*/ 1509909 h 6858004"/>
              <a:gd name="connsiteX203" fmla="*/ 1669114 w 6793622"/>
              <a:gd name="connsiteY203" fmla="*/ 2216003 h 6858004"/>
              <a:gd name="connsiteX204" fmla="*/ 1669114 w 6793622"/>
              <a:gd name="connsiteY204" fmla="*/ 2301483 h 6858004"/>
              <a:gd name="connsiteX205" fmla="*/ 2375203 w 6793622"/>
              <a:gd name="connsiteY205" fmla="*/ 3007574 h 6858004"/>
              <a:gd name="connsiteX206" fmla="*/ 3079091 w 6793622"/>
              <a:gd name="connsiteY206" fmla="*/ 2303684 h 6858004"/>
              <a:gd name="connsiteX207" fmla="*/ 3079091 w 6793622"/>
              <a:gd name="connsiteY207" fmla="*/ 2213801 h 6858004"/>
              <a:gd name="connsiteX208" fmla="*/ 799179 w 6793622"/>
              <a:gd name="connsiteY208" fmla="*/ 1509909 h 6858004"/>
              <a:gd name="connsiteX209" fmla="*/ 92899 w 6793622"/>
              <a:gd name="connsiteY209" fmla="*/ 2216191 h 6858004"/>
              <a:gd name="connsiteX210" fmla="*/ 92899 w 6793622"/>
              <a:gd name="connsiteY210" fmla="*/ 2301291 h 6858004"/>
              <a:gd name="connsiteX211" fmla="*/ 799180 w 6793622"/>
              <a:gd name="connsiteY211" fmla="*/ 3007572 h 6858004"/>
              <a:gd name="connsiteX212" fmla="*/ 1502876 w 6793622"/>
              <a:gd name="connsiteY212" fmla="*/ 2303876 h 6858004"/>
              <a:gd name="connsiteX213" fmla="*/ 1502876 w 6793622"/>
              <a:gd name="connsiteY213" fmla="*/ 2213609 h 6858004"/>
              <a:gd name="connsiteX214" fmla="*/ 3951234 w 6793622"/>
              <a:gd name="connsiteY214" fmla="*/ 1509908 h 6858004"/>
              <a:gd name="connsiteX215" fmla="*/ 3245329 w 6793622"/>
              <a:gd name="connsiteY215" fmla="*/ 2215815 h 6858004"/>
              <a:gd name="connsiteX216" fmla="*/ 3245329 w 6793622"/>
              <a:gd name="connsiteY216" fmla="*/ 2301672 h 6858004"/>
              <a:gd name="connsiteX217" fmla="*/ 3951229 w 6793622"/>
              <a:gd name="connsiteY217" fmla="*/ 3007574 h 6858004"/>
              <a:gd name="connsiteX218" fmla="*/ 4655306 w 6793622"/>
              <a:gd name="connsiteY218" fmla="*/ 2303494 h 6858004"/>
              <a:gd name="connsiteX219" fmla="*/ 4655306 w 6793622"/>
              <a:gd name="connsiteY219" fmla="*/ 2213984 h 6858004"/>
              <a:gd name="connsiteX220" fmla="*/ 6231528 w 6793622"/>
              <a:gd name="connsiteY220" fmla="*/ 1383952 h 6858004"/>
              <a:gd name="connsiteX221" fmla="*/ 6397766 w 6793622"/>
              <a:gd name="connsiteY221" fmla="*/ 1383952 h 6858004"/>
              <a:gd name="connsiteX222" fmla="*/ 6397766 w 6793622"/>
              <a:gd name="connsiteY222" fmla="*/ 1550190 h 6858004"/>
              <a:gd name="connsiteX223" fmla="*/ 6231528 w 6793622"/>
              <a:gd name="connsiteY223" fmla="*/ 1550190 h 6858004"/>
              <a:gd name="connsiteX224" fmla="*/ 4655306 w 6793622"/>
              <a:gd name="connsiteY224" fmla="*/ 1383952 h 6858004"/>
              <a:gd name="connsiteX225" fmla="*/ 4821544 w 6793622"/>
              <a:gd name="connsiteY225" fmla="*/ 1383952 h 6858004"/>
              <a:gd name="connsiteX226" fmla="*/ 4821544 w 6793622"/>
              <a:gd name="connsiteY226" fmla="*/ 1550190 h 6858004"/>
              <a:gd name="connsiteX227" fmla="*/ 4655306 w 6793622"/>
              <a:gd name="connsiteY227" fmla="*/ 1550190 h 6858004"/>
              <a:gd name="connsiteX228" fmla="*/ 3079091 w 6793622"/>
              <a:gd name="connsiteY228" fmla="*/ 1383952 h 6858004"/>
              <a:gd name="connsiteX229" fmla="*/ 3245329 w 6793622"/>
              <a:gd name="connsiteY229" fmla="*/ 1383952 h 6858004"/>
              <a:gd name="connsiteX230" fmla="*/ 3245329 w 6793622"/>
              <a:gd name="connsiteY230" fmla="*/ 1550190 h 6858004"/>
              <a:gd name="connsiteX231" fmla="*/ 3079091 w 6793622"/>
              <a:gd name="connsiteY231" fmla="*/ 1550190 h 6858004"/>
              <a:gd name="connsiteX232" fmla="*/ 1502876 w 6793622"/>
              <a:gd name="connsiteY232" fmla="*/ 1383952 h 6858004"/>
              <a:gd name="connsiteX233" fmla="*/ 1669114 w 6793622"/>
              <a:gd name="connsiteY233" fmla="*/ 1383952 h 6858004"/>
              <a:gd name="connsiteX234" fmla="*/ 1669114 w 6793622"/>
              <a:gd name="connsiteY234" fmla="*/ 1550190 h 6858004"/>
              <a:gd name="connsiteX235" fmla="*/ 1502876 w 6793622"/>
              <a:gd name="connsiteY235" fmla="*/ 1550190 h 6858004"/>
              <a:gd name="connsiteX236" fmla="*/ 0 w 6793622"/>
              <a:gd name="connsiteY236" fmla="*/ 1383952 h 6858004"/>
              <a:gd name="connsiteX237" fmla="*/ 92899 w 6793622"/>
              <a:gd name="connsiteY237" fmla="*/ 1383952 h 6858004"/>
              <a:gd name="connsiteX238" fmla="*/ 92899 w 6793622"/>
              <a:gd name="connsiteY238" fmla="*/ 1550190 h 6858004"/>
              <a:gd name="connsiteX239" fmla="*/ 0 w 6793622"/>
              <a:gd name="connsiteY239" fmla="*/ 1550190 h 6858004"/>
              <a:gd name="connsiteX240" fmla="*/ 4696046 w 6793622"/>
              <a:gd name="connsiteY240" fmla="*/ 765093 h 6858004"/>
              <a:gd name="connsiteX241" fmla="*/ 3990417 w 6793622"/>
              <a:gd name="connsiteY241" fmla="*/ 1470726 h 6858004"/>
              <a:gd name="connsiteX242" fmla="*/ 4690393 w 6793622"/>
              <a:gd name="connsiteY242" fmla="*/ 2170704 h 6858004"/>
              <a:gd name="connsiteX243" fmla="*/ 4788097 w 6793622"/>
              <a:gd name="connsiteY243" fmla="*/ 2170704 h 6858004"/>
              <a:gd name="connsiteX244" fmla="*/ 5488072 w 6793622"/>
              <a:gd name="connsiteY244" fmla="*/ 1470727 h 6858004"/>
              <a:gd name="connsiteX245" fmla="*/ 4782441 w 6793622"/>
              <a:gd name="connsiteY245" fmla="*/ 765093 h 6858004"/>
              <a:gd name="connsiteX246" fmla="*/ 3120017 w 6793622"/>
              <a:gd name="connsiteY246" fmla="*/ 765093 h 6858004"/>
              <a:gd name="connsiteX247" fmla="*/ 2414386 w 6793622"/>
              <a:gd name="connsiteY247" fmla="*/ 1470727 h 6858004"/>
              <a:gd name="connsiteX248" fmla="*/ 3114359 w 6793622"/>
              <a:gd name="connsiteY248" fmla="*/ 2170704 h 6858004"/>
              <a:gd name="connsiteX249" fmla="*/ 3212073 w 6793622"/>
              <a:gd name="connsiteY249" fmla="*/ 2170704 h 6858004"/>
              <a:gd name="connsiteX250" fmla="*/ 3912049 w 6793622"/>
              <a:gd name="connsiteY250" fmla="*/ 1470724 h 6858004"/>
              <a:gd name="connsiteX251" fmla="*/ 3206421 w 6793622"/>
              <a:gd name="connsiteY251" fmla="*/ 765093 h 6858004"/>
              <a:gd name="connsiteX252" fmla="*/ 1543993 w 6793622"/>
              <a:gd name="connsiteY252" fmla="*/ 765093 h 6858004"/>
              <a:gd name="connsiteX253" fmla="*/ 838360 w 6793622"/>
              <a:gd name="connsiteY253" fmla="*/ 1470729 h 6858004"/>
              <a:gd name="connsiteX254" fmla="*/ 1538333 w 6793622"/>
              <a:gd name="connsiteY254" fmla="*/ 2170704 h 6858004"/>
              <a:gd name="connsiteX255" fmla="*/ 1636050 w 6793622"/>
              <a:gd name="connsiteY255" fmla="*/ 2170704 h 6858004"/>
              <a:gd name="connsiteX256" fmla="*/ 2336021 w 6793622"/>
              <a:gd name="connsiteY256" fmla="*/ 1470729 h 6858004"/>
              <a:gd name="connsiteX257" fmla="*/ 1630389 w 6793622"/>
              <a:gd name="connsiteY257" fmla="*/ 765093 h 6858004"/>
              <a:gd name="connsiteX258" fmla="*/ 714769 w 6793622"/>
              <a:gd name="connsiteY258" fmla="*/ 598857 h 6858004"/>
              <a:gd name="connsiteX259" fmla="*/ 881007 w 6793622"/>
              <a:gd name="connsiteY259" fmla="*/ 598857 h 6858004"/>
              <a:gd name="connsiteX260" fmla="*/ 881007 w 6793622"/>
              <a:gd name="connsiteY260" fmla="*/ 765093 h 6858004"/>
              <a:gd name="connsiteX261" fmla="*/ 714769 w 6793622"/>
              <a:gd name="connsiteY261" fmla="*/ 765093 h 6858004"/>
              <a:gd name="connsiteX262" fmla="*/ 5443414 w 6793622"/>
              <a:gd name="connsiteY262" fmla="*/ 598855 h 6858004"/>
              <a:gd name="connsiteX263" fmla="*/ 5609652 w 6793622"/>
              <a:gd name="connsiteY263" fmla="*/ 598855 h 6858004"/>
              <a:gd name="connsiteX264" fmla="*/ 5609652 w 6793622"/>
              <a:gd name="connsiteY264" fmla="*/ 765093 h 6858004"/>
              <a:gd name="connsiteX265" fmla="*/ 5443414 w 6793622"/>
              <a:gd name="connsiteY265" fmla="*/ 765093 h 6858004"/>
              <a:gd name="connsiteX266" fmla="*/ 3867199 w 6793622"/>
              <a:gd name="connsiteY266" fmla="*/ 598855 h 6858004"/>
              <a:gd name="connsiteX267" fmla="*/ 4033437 w 6793622"/>
              <a:gd name="connsiteY267" fmla="*/ 598855 h 6858004"/>
              <a:gd name="connsiteX268" fmla="*/ 4033437 w 6793622"/>
              <a:gd name="connsiteY268" fmla="*/ 765093 h 6858004"/>
              <a:gd name="connsiteX269" fmla="*/ 3867199 w 6793622"/>
              <a:gd name="connsiteY269" fmla="*/ 765093 h 6858004"/>
              <a:gd name="connsiteX270" fmla="*/ 2290984 w 6793622"/>
              <a:gd name="connsiteY270" fmla="*/ 598855 h 6858004"/>
              <a:gd name="connsiteX271" fmla="*/ 2457222 w 6793622"/>
              <a:gd name="connsiteY271" fmla="*/ 598855 h 6858004"/>
              <a:gd name="connsiteX272" fmla="*/ 2457222 w 6793622"/>
              <a:gd name="connsiteY272" fmla="*/ 765093 h 6858004"/>
              <a:gd name="connsiteX273" fmla="*/ 2290984 w 6793622"/>
              <a:gd name="connsiteY273" fmla="*/ 765093 h 6858004"/>
              <a:gd name="connsiteX274" fmla="*/ 865294 w 6793622"/>
              <a:gd name="connsiteY274" fmla="*/ 0 h 6858004"/>
              <a:gd name="connsiteX275" fmla="*/ 943660 w 6793622"/>
              <a:gd name="connsiteY275" fmla="*/ 0 h 6858004"/>
              <a:gd name="connsiteX276" fmla="*/ 1542517 w 6793622"/>
              <a:gd name="connsiteY276" fmla="*/ 598855 h 6858004"/>
              <a:gd name="connsiteX277" fmla="*/ 1631863 w 6793622"/>
              <a:gd name="connsiteY277" fmla="*/ 598855 h 6858004"/>
              <a:gd name="connsiteX278" fmla="*/ 2230720 w 6793622"/>
              <a:gd name="connsiteY278" fmla="*/ 2 h 6858004"/>
              <a:gd name="connsiteX279" fmla="*/ 2309086 w 6793622"/>
              <a:gd name="connsiteY279" fmla="*/ 2 h 6858004"/>
              <a:gd name="connsiteX280" fmla="*/ 1669114 w 6793622"/>
              <a:gd name="connsiteY280" fmla="*/ 639972 h 6858004"/>
              <a:gd name="connsiteX281" fmla="*/ 1669114 w 6793622"/>
              <a:gd name="connsiteY281" fmla="*/ 725454 h 6858004"/>
              <a:gd name="connsiteX282" fmla="*/ 2375205 w 6793622"/>
              <a:gd name="connsiteY282" fmla="*/ 1431548 h 6858004"/>
              <a:gd name="connsiteX283" fmla="*/ 3079091 w 6793622"/>
              <a:gd name="connsiteY283" fmla="*/ 727656 h 6858004"/>
              <a:gd name="connsiteX284" fmla="*/ 3079091 w 6793622"/>
              <a:gd name="connsiteY284" fmla="*/ 637764 h 6858004"/>
              <a:gd name="connsiteX285" fmla="*/ 2441326 w 6793622"/>
              <a:gd name="connsiteY285" fmla="*/ 0 h 6858004"/>
              <a:gd name="connsiteX286" fmla="*/ 2519691 w 6793622"/>
              <a:gd name="connsiteY286" fmla="*/ 0 h 6858004"/>
              <a:gd name="connsiteX287" fmla="*/ 3118549 w 6793622"/>
              <a:gd name="connsiteY287" fmla="*/ 598855 h 6858004"/>
              <a:gd name="connsiteX288" fmla="*/ 3207892 w 6793622"/>
              <a:gd name="connsiteY288" fmla="*/ 598855 h 6858004"/>
              <a:gd name="connsiteX289" fmla="*/ 3806747 w 6793622"/>
              <a:gd name="connsiteY289" fmla="*/ 2 h 6858004"/>
              <a:gd name="connsiteX290" fmla="*/ 3885110 w 6793622"/>
              <a:gd name="connsiteY290" fmla="*/ 2 h 6858004"/>
              <a:gd name="connsiteX291" fmla="*/ 3245329 w 6793622"/>
              <a:gd name="connsiteY291" fmla="*/ 639781 h 6858004"/>
              <a:gd name="connsiteX292" fmla="*/ 3245329 w 6793622"/>
              <a:gd name="connsiteY292" fmla="*/ 725636 h 6858004"/>
              <a:gd name="connsiteX293" fmla="*/ 3951232 w 6793622"/>
              <a:gd name="connsiteY293" fmla="*/ 1431543 h 6858004"/>
              <a:gd name="connsiteX294" fmla="*/ 4655306 w 6793622"/>
              <a:gd name="connsiteY294" fmla="*/ 727464 h 6858004"/>
              <a:gd name="connsiteX295" fmla="*/ 4655306 w 6793622"/>
              <a:gd name="connsiteY295" fmla="*/ 637959 h 6858004"/>
              <a:gd name="connsiteX296" fmla="*/ 4017346 w 6793622"/>
              <a:gd name="connsiteY296" fmla="*/ 0 h 6858004"/>
              <a:gd name="connsiteX297" fmla="*/ 4095712 w 6793622"/>
              <a:gd name="connsiteY297" fmla="*/ 0 h 6858004"/>
              <a:gd name="connsiteX298" fmla="*/ 4694569 w 6793622"/>
              <a:gd name="connsiteY298" fmla="*/ 598855 h 6858004"/>
              <a:gd name="connsiteX299" fmla="*/ 4783915 w 6793622"/>
              <a:gd name="connsiteY299" fmla="*/ 598855 h 6858004"/>
              <a:gd name="connsiteX300" fmla="*/ 5382768 w 6793622"/>
              <a:gd name="connsiteY300" fmla="*/ 5 h 6858004"/>
              <a:gd name="connsiteX301" fmla="*/ 5461138 w 6793622"/>
              <a:gd name="connsiteY301" fmla="*/ 5 h 6858004"/>
              <a:gd name="connsiteX302" fmla="*/ 4821544 w 6793622"/>
              <a:gd name="connsiteY302" fmla="*/ 639597 h 6858004"/>
              <a:gd name="connsiteX303" fmla="*/ 4821544 w 6793622"/>
              <a:gd name="connsiteY303" fmla="*/ 725832 h 6858004"/>
              <a:gd name="connsiteX304" fmla="*/ 5527256 w 6793622"/>
              <a:gd name="connsiteY304" fmla="*/ 1431546 h 6858004"/>
              <a:gd name="connsiteX305" fmla="*/ 6231528 w 6793622"/>
              <a:gd name="connsiteY305" fmla="*/ 727271 h 6858004"/>
              <a:gd name="connsiteX306" fmla="*/ 6231528 w 6793622"/>
              <a:gd name="connsiteY306" fmla="*/ 638155 h 6858004"/>
              <a:gd name="connsiteX307" fmla="*/ 5593370 w 6793622"/>
              <a:gd name="connsiteY307" fmla="*/ 0 h 6858004"/>
              <a:gd name="connsiteX308" fmla="*/ 5671736 w 6793622"/>
              <a:gd name="connsiteY308" fmla="*/ 0 h 6858004"/>
              <a:gd name="connsiteX309" fmla="*/ 6270594 w 6793622"/>
              <a:gd name="connsiteY309" fmla="*/ 598855 h 6858004"/>
              <a:gd name="connsiteX310" fmla="*/ 6359942 w 6793622"/>
              <a:gd name="connsiteY310" fmla="*/ 598855 h 6858004"/>
              <a:gd name="connsiteX311" fmla="*/ 6793614 w 6793622"/>
              <a:gd name="connsiteY311" fmla="*/ 165185 h 6858004"/>
              <a:gd name="connsiteX312" fmla="*/ 6793614 w 6793622"/>
              <a:gd name="connsiteY312" fmla="*/ 243550 h 6858004"/>
              <a:gd name="connsiteX313" fmla="*/ 6397766 w 6793622"/>
              <a:gd name="connsiteY313" fmla="*/ 639399 h 6858004"/>
              <a:gd name="connsiteX314" fmla="*/ 6397766 w 6793622"/>
              <a:gd name="connsiteY314" fmla="*/ 726027 h 6858004"/>
              <a:gd name="connsiteX315" fmla="*/ 6793616 w 6793622"/>
              <a:gd name="connsiteY315" fmla="*/ 1121891 h 6858004"/>
              <a:gd name="connsiteX316" fmla="*/ 6793616 w 6793622"/>
              <a:gd name="connsiteY316" fmla="*/ 1200251 h 6858004"/>
              <a:gd name="connsiteX317" fmla="*/ 6358466 w 6793622"/>
              <a:gd name="connsiteY317" fmla="*/ 765093 h 6858004"/>
              <a:gd name="connsiteX318" fmla="*/ 6272072 w 6793622"/>
              <a:gd name="connsiteY318" fmla="*/ 765093 h 6858004"/>
              <a:gd name="connsiteX319" fmla="*/ 5566438 w 6793622"/>
              <a:gd name="connsiteY319" fmla="*/ 1470727 h 6858004"/>
              <a:gd name="connsiteX320" fmla="*/ 6266412 w 6793622"/>
              <a:gd name="connsiteY320" fmla="*/ 2170702 h 6858004"/>
              <a:gd name="connsiteX321" fmla="*/ 6364122 w 6793622"/>
              <a:gd name="connsiteY321" fmla="*/ 2170702 h 6858004"/>
              <a:gd name="connsiteX322" fmla="*/ 6793618 w 6793622"/>
              <a:gd name="connsiteY322" fmla="*/ 1741208 h 6858004"/>
              <a:gd name="connsiteX323" fmla="*/ 6793618 w 6793622"/>
              <a:gd name="connsiteY323" fmla="*/ 1819573 h 6858004"/>
              <a:gd name="connsiteX324" fmla="*/ 6397766 w 6793622"/>
              <a:gd name="connsiteY324" fmla="*/ 2215425 h 6858004"/>
              <a:gd name="connsiteX325" fmla="*/ 6397766 w 6793622"/>
              <a:gd name="connsiteY325" fmla="*/ 2302058 h 6858004"/>
              <a:gd name="connsiteX326" fmla="*/ 6793618 w 6793622"/>
              <a:gd name="connsiteY326" fmla="*/ 2697911 h 6858004"/>
              <a:gd name="connsiteX327" fmla="*/ 6793618 w 6793622"/>
              <a:gd name="connsiteY327" fmla="*/ 2776276 h 6858004"/>
              <a:gd name="connsiteX328" fmla="*/ 6354284 w 6793622"/>
              <a:gd name="connsiteY328" fmla="*/ 2336940 h 6858004"/>
              <a:gd name="connsiteX329" fmla="*/ 6276248 w 6793622"/>
              <a:gd name="connsiteY329" fmla="*/ 2336940 h 6858004"/>
              <a:gd name="connsiteX330" fmla="*/ 5566440 w 6793622"/>
              <a:gd name="connsiteY330" fmla="*/ 3046751 h 6858004"/>
              <a:gd name="connsiteX331" fmla="*/ 6269820 w 6793622"/>
              <a:gd name="connsiteY331" fmla="*/ 3750112 h 6858004"/>
              <a:gd name="connsiteX332" fmla="*/ 6360722 w 6793622"/>
              <a:gd name="connsiteY332" fmla="*/ 3750112 h 6858004"/>
              <a:gd name="connsiteX333" fmla="*/ 6793618 w 6793622"/>
              <a:gd name="connsiteY333" fmla="*/ 3317216 h 6858004"/>
              <a:gd name="connsiteX334" fmla="*/ 6793616 w 6793622"/>
              <a:gd name="connsiteY334" fmla="*/ 3395581 h 6858004"/>
              <a:gd name="connsiteX335" fmla="*/ 6397766 w 6793622"/>
              <a:gd name="connsiteY335" fmla="*/ 3791431 h 6858004"/>
              <a:gd name="connsiteX336" fmla="*/ 6397766 w 6793622"/>
              <a:gd name="connsiteY336" fmla="*/ 3878056 h 6858004"/>
              <a:gd name="connsiteX337" fmla="*/ 6793622 w 6793622"/>
              <a:gd name="connsiteY337" fmla="*/ 4273913 h 6858004"/>
              <a:gd name="connsiteX338" fmla="*/ 6793620 w 6793622"/>
              <a:gd name="connsiteY338" fmla="*/ 4352281 h 6858004"/>
              <a:gd name="connsiteX339" fmla="*/ 6357690 w 6793622"/>
              <a:gd name="connsiteY339" fmla="*/ 3916350 h 6858004"/>
              <a:gd name="connsiteX340" fmla="*/ 6272846 w 6793622"/>
              <a:gd name="connsiteY340" fmla="*/ 3916350 h 6858004"/>
              <a:gd name="connsiteX341" fmla="*/ 5566436 w 6793622"/>
              <a:gd name="connsiteY341" fmla="*/ 4622762 h 6858004"/>
              <a:gd name="connsiteX342" fmla="*/ 6270498 w 6793622"/>
              <a:gd name="connsiteY342" fmla="*/ 5326824 h 6858004"/>
              <a:gd name="connsiteX343" fmla="*/ 6360038 w 6793622"/>
              <a:gd name="connsiteY343" fmla="*/ 5326824 h 6858004"/>
              <a:gd name="connsiteX344" fmla="*/ 6793616 w 6793622"/>
              <a:gd name="connsiteY344" fmla="*/ 4893244 h 6858004"/>
              <a:gd name="connsiteX345" fmla="*/ 6793616 w 6793622"/>
              <a:gd name="connsiteY345" fmla="*/ 4971610 h 6858004"/>
              <a:gd name="connsiteX346" fmla="*/ 6397766 w 6793622"/>
              <a:gd name="connsiteY346" fmla="*/ 5367459 h 6858004"/>
              <a:gd name="connsiteX347" fmla="*/ 6397766 w 6793622"/>
              <a:gd name="connsiteY347" fmla="*/ 5454090 h 6858004"/>
              <a:gd name="connsiteX348" fmla="*/ 6793618 w 6793622"/>
              <a:gd name="connsiteY348" fmla="*/ 5849942 h 6858004"/>
              <a:gd name="connsiteX349" fmla="*/ 6793618 w 6793622"/>
              <a:gd name="connsiteY349" fmla="*/ 5928308 h 6858004"/>
              <a:gd name="connsiteX350" fmla="*/ 6358370 w 6793622"/>
              <a:gd name="connsiteY350" fmla="*/ 5493062 h 6858004"/>
              <a:gd name="connsiteX351" fmla="*/ 6272162 w 6793622"/>
              <a:gd name="connsiteY351" fmla="*/ 5493062 h 6858004"/>
              <a:gd name="connsiteX352" fmla="*/ 5566436 w 6793622"/>
              <a:gd name="connsiteY352" fmla="*/ 6198789 h 6858004"/>
              <a:gd name="connsiteX353" fmla="*/ 6225650 w 6793622"/>
              <a:gd name="connsiteY353" fmla="*/ 6858001 h 6858004"/>
              <a:gd name="connsiteX354" fmla="*/ 6147288 w 6793622"/>
              <a:gd name="connsiteY354" fmla="*/ 6858000 h 6858004"/>
              <a:gd name="connsiteX355" fmla="*/ 5527256 w 6793622"/>
              <a:gd name="connsiteY355" fmla="*/ 6237969 h 6858004"/>
              <a:gd name="connsiteX356" fmla="*/ 4907224 w 6793622"/>
              <a:gd name="connsiteY356" fmla="*/ 6858001 h 6858004"/>
              <a:gd name="connsiteX357" fmla="*/ 4828858 w 6793622"/>
              <a:gd name="connsiteY357" fmla="*/ 6858001 h 6858004"/>
              <a:gd name="connsiteX358" fmla="*/ 5488074 w 6793622"/>
              <a:gd name="connsiteY358" fmla="*/ 6198786 h 6858004"/>
              <a:gd name="connsiteX359" fmla="*/ 4782349 w 6793622"/>
              <a:gd name="connsiteY359" fmla="*/ 5493062 h 6858004"/>
              <a:gd name="connsiteX360" fmla="*/ 4696135 w 6793622"/>
              <a:gd name="connsiteY360" fmla="*/ 5493062 h 6858004"/>
              <a:gd name="connsiteX361" fmla="*/ 3990412 w 6793622"/>
              <a:gd name="connsiteY361" fmla="*/ 6198785 h 6858004"/>
              <a:gd name="connsiteX362" fmla="*/ 4649627 w 6793622"/>
              <a:gd name="connsiteY362" fmla="*/ 6858000 h 6858004"/>
              <a:gd name="connsiteX363" fmla="*/ 4571260 w 6793622"/>
              <a:gd name="connsiteY363" fmla="*/ 6858001 h 6858004"/>
              <a:gd name="connsiteX364" fmla="*/ 3951228 w 6793622"/>
              <a:gd name="connsiteY364" fmla="*/ 6237969 h 6858004"/>
              <a:gd name="connsiteX365" fmla="*/ 3331197 w 6793622"/>
              <a:gd name="connsiteY365" fmla="*/ 6858001 h 6858004"/>
              <a:gd name="connsiteX366" fmla="*/ 3252832 w 6793622"/>
              <a:gd name="connsiteY366" fmla="*/ 6858001 h 6858004"/>
              <a:gd name="connsiteX367" fmla="*/ 3912046 w 6793622"/>
              <a:gd name="connsiteY367" fmla="*/ 6198788 h 6858004"/>
              <a:gd name="connsiteX368" fmla="*/ 3206320 w 6793622"/>
              <a:gd name="connsiteY368" fmla="*/ 5493062 h 6858004"/>
              <a:gd name="connsiteX369" fmla="*/ 3120109 w 6793622"/>
              <a:gd name="connsiteY369" fmla="*/ 5493062 h 6858004"/>
              <a:gd name="connsiteX370" fmla="*/ 2414383 w 6793622"/>
              <a:gd name="connsiteY370" fmla="*/ 6198788 h 6858004"/>
              <a:gd name="connsiteX371" fmla="*/ 3073600 w 6793622"/>
              <a:gd name="connsiteY371" fmla="*/ 6858003 h 6858004"/>
              <a:gd name="connsiteX372" fmla="*/ 2995232 w 6793622"/>
              <a:gd name="connsiteY372" fmla="*/ 6858003 h 6858004"/>
              <a:gd name="connsiteX373" fmla="*/ 2375200 w 6793622"/>
              <a:gd name="connsiteY373" fmla="*/ 6237971 h 6858004"/>
              <a:gd name="connsiteX374" fmla="*/ 1755169 w 6793622"/>
              <a:gd name="connsiteY374" fmla="*/ 6858001 h 6858004"/>
              <a:gd name="connsiteX375" fmla="*/ 1676803 w 6793622"/>
              <a:gd name="connsiteY375" fmla="*/ 6858001 h 6858004"/>
              <a:gd name="connsiteX376" fmla="*/ 2336017 w 6793622"/>
              <a:gd name="connsiteY376" fmla="*/ 6198788 h 6858004"/>
              <a:gd name="connsiteX377" fmla="*/ 1630291 w 6793622"/>
              <a:gd name="connsiteY377" fmla="*/ 5493062 h 6858004"/>
              <a:gd name="connsiteX378" fmla="*/ 1544086 w 6793622"/>
              <a:gd name="connsiteY378" fmla="*/ 5493062 h 6858004"/>
              <a:gd name="connsiteX379" fmla="*/ 838362 w 6793622"/>
              <a:gd name="connsiteY379" fmla="*/ 6198786 h 6858004"/>
              <a:gd name="connsiteX380" fmla="*/ 1497577 w 6793622"/>
              <a:gd name="connsiteY380" fmla="*/ 6858001 h 6858004"/>
              <a:gd name="connsiteX381" fmla="*/ 1419208 w 6793622"/>
              <a:gd name="connsiteY381" fmla="*/ 6858001 h 6858004"/>
              <a:gd name="connsiteX382" fmla="*/ 799177 w 6793622"/>
              <a:gd name="connsiteY382" fmla="*/ 6237971 h 6858004"/>
              <a:gd name="connsiteX383" fmla="*/ 179143 w 6793622"/>
              <a:gd name="connsiteY383" fmla="*/ 6858004 h 6858004"/>
              <a:gd name="connsiteX384" fmla="*/ 100780 w 6793622"/>
              <a:gd name="connsiteY384" fmla="*/ 6858004 h 6858004"/>
              <a:gd name="connsiteX385" fmla="*/ 759995 w 6793622"/>
              <a:gd name="connsiteY385" fmla="*/ 6198789 h 6858004"/>
              <a:gd name="connsiteX386" fmla="*/ 54270 w 6793622"/>
              <a:gd name="connsiteY386" fmla="*/ 5493062 h 6858004"/>
              <a:gd name="connsiteX387" fmla="*/ 0 w 6793622"/>
              <a:gd name="connsiteY387" fmla="*/ 5493062 h 6858004"/>
              <a:gd name="connsiteX388" fmla="*/ 0 w 6793622"/>
              <a:gd name="connsiteY388" fmla="*/ 5326824 h 6858004"/>
              <a:gd name="connsiteX389" fmla="*/ 55933 w 6793622"/>
              <a:gd name="connsiteY389" fmla="*/ 5326824 h 6858004"/>
              <a:gd name="connsiteX390" fmla="*/ 759994 w 6793622"/>
              <a:gd name="connsiteY390" fmla="*/ 4622763 h 6858004"/>
              <a:gd name="connsiteX391" fmla="*/ 53580 w 6793622"/>
              <a:gd name="connsiteY391" fmla="*/ 3916350 h 6858004"/>
              <a:gd name="connsiteX392" fmla="*/ 0 w 6793622"/>
              <a:gd name="connsiteY392" fmla="*/ 3916350 h 6858004"/>
              <a:gd name="connsiteX393" fmla="*/ 0 w 6793622"/>
              <a:gd name="connsiteY393" fmla="*/ 3750112 h 6858004"/>
              <a:gd name="connsiteX394" fmla="*/ 56622 w 6793622"/>
              <a:gd name="connsiteY394" fmla="*/ 3750112 h 6858004"/>
              <a:gd name="connsiteX395" fmla="*/ 759997 w 6793622"/>
              <a:gd name="connsiteY395" fmla="*/ 3046757 h 6858004"/>
              <a:gd name="connsiteX396" fmla="*/ 50184 w 6793622"/>
              <a:gd name="connsiteY396" fmla="*/ 2336942 h 6858004"/>
              <a:gd name="connsiteX397" fmla="*/ 0 w 6793622"/>
              <a:gd name="connsiteY397" fmla="*/ 2336942 h 6858004"/>
              <a:gd name="connsiteX398" fmla="*/ 0 w 6793622"/>
              <a:gd name="connsiteY398" fmla="*/ 2170704 h 6858004"/>
              <a:gd name="connsiteX399" fmla="*/ 60021 w 6793622"/>
              <a:gd name="connsiteY399" fmla="*/ 2170704 h 6858004"/>
              <a:gd name="connsiteX400" fmla="*/ 759995 w 6793622"/>
              <a:gd name="connsiteY400" fmla="*/ 1470727 h 6858004"/>
              <a:gd name="connsiteX401" fmla="*/ 54366 w 6793622"/>
              <a:gd name="connsiteY401" fmla="*/ 765093 h 6858004"/>
              <a:gd name="connsiteX402" fmla="*/ 0 w 6793622"/>
              <a:gd name="connsiteY402" fmla="*/ 765093 h 6858004"/>
              <a:gd name="connsiteX403" fmla="*/ 0 w 6793622"/>
              <a:gd name="connsiteY403" fmla="*/ 598857 h 6858004"/>
              <a:gd name="connsiteX404" fmla="*/ 55839 w 6793622"/>
              <a:gd name="connsiteY404" fmla="*/ 598857 h 6858004"/>
              <a:gd name="connsiteX405" fmla="*/ 654694 w 6793622"/>
              <a:gd name="connsiteY405" fmla="*/ 2 h 6858004"/>
              <a:gd name="connsiteX406" fmla="*/ 733060 w 6793622"/>
              <a:gd name="connsiteY406" fmla="*/ 2 h 6858004"/>
              <a:gd name="connsiteX407" fmla="*/ 92899 w 6793622"/>
              <a:gd name="connsiteY407" fmla="*/ 640162 h 6858004"/>
              <a:gd name="connsiteX408" fmla="*/ 92899 w 6793622"/>
              <a:gd name="connsiteY408" fmla="*/ 725264 h 6858004"/>
              <a:gd name="connsiteX409" fmla="*/ 799177 w 6793622"/>
              <a:gd name="connsiteY409" fmla="*/ 1431548 h 6858004"/>
              <a:gd name="connsiteX410" fmla="*/ 1502876 w 6793622"/>
              <a:gd name="connsiteY410" fmla="*/ 727845 h 6858004"/>
              <a:gd name="connsiteX411" fmla="*/ 1502876 w 6793622"/>
              <a:gd name="connsiteY411" fmla="*/ 637581 h 6858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</a:cxnLst>
            <a:rect l="l" t="t" r="r" b="b"/>
            <a:pathLst>
              <a:path w="6793622" h="6858004">
                <a:moveTo>
                  <a:pt x="6793614" y="6469259"/>
                </a:moveTo>
                <a:lnTo>
                  <a:pt x="6793612" y="6547627"/>
                </a:lnTo>
                <a:lnTo>
                  <a:pt x="6483236" y="6858001"/>
                </a:lnTo>
                <a:lnTo>
                  <a:pt x="6404870" y="6858003"/>
                </a:lnTo>
                <a:close/>
                <a:moveTo>
                  <a:pt x="6231528" y="6115236"/>
                </a:moveTo>
                <a:lnTo>
                  <a:pt x="6397766" y="6115236"/>
                </a:lnTo>
                <a:lnTo>
                  <a:pt x="6397766" y="6281474"/>
                </a:lnTo>
                <a:lnTo>
                  <a:pt x="6231528" y="6281474"/>
                </a:lnTo>
                <a:close/>
                <a:moveTo>
                  <a:pt x="4655306" y="6115236"/>
                </a:moveTo>
                <a:lnTo>
                  <a:pt x="4821544" y="6115236"/>
                </a:lnTo>
                <a:lnTo>
                  <a:pt x="4821544" y="6281474"/>
                </a:lnTo>
                <a:lnTo>
                  <a:pt x="4655306" y="6281474"/>
                </a:lnTo>
                <a:close/>
                <a:moveTo>
                  <a:pt x="3079091" y="6115236"/>
                </a:moveTo>
                <a:lnTo>
                  <a:pt x="3245329" y="6115236"/>
                </a:lnTo>
                <a:lnTo>
                  <a:pt x="3245329" y="6281474"/>
                </a:lnTo>
                <a:lnTo>
                  <a:pt x="3079091" y="6281474"/>
                </a:lnTo>
                <a:close/>
                <a:moveTo>
                  <a:pt x="1502876" y="6115236"/>
                </a:moveTo>
                <a:lnTo>
                  <a:pt x="1669114" y="6115236"/>
                </a:lnTo>
                <a:lnTo>
                  <a:pt x="1669114" y="6281474"/>
                </a:lnTo>
                <a:lnTo>
                  <a:pt x="1502876" y="6281474"/>
                </a:lnTo>
                <a:close/>
                <a:moveTo>
                  <a:pt x="0" y="6115236"/>
                </a:moveTo>
                <a:lnTo>
                  <a:pt x="92899" y="6115236"/>
                </a:lnTo>
                <a:lnTo>
                  <a:pt x="92899" y="6281474"/>
                </a:lnTo>
                <a:lnTo>
                  <a:pt x="0" y="6281474"/>
                </a:lnTo>
                <a:close/>
                <a:moveTo>
                  <a:pt x="5443414" y="5326824"/>
                </a:moveTo>
                <a:lnTo>
                  <a:pt x="5609652" y="5326824"/>
                </a:lnTo>
                <a:lnTo>
                  <a:pt x="5609652" y="5493062"/>
                </a:lnTo>
                <a:lnTo>
                  <a:pt x="5443414" y="5493062"/>
                </a:lnTo>
                <a:close/>
                <a:moveTo>
                  <a:pt x="3867199" y="5326824"/>
                </a:moveTo>
                <a:lnTo>
                  <a:pt x="4033437" y="5326824"/>
                </a:lnTo>
                <a:lnTo>
                  <a:pt x="4033437" y="5493062"/>
                </a:lnTo>
                <a:lnTo>
                  <a:pt x="3867199" y="5493062"/>
                </a:lnTo>
                <a:close/>
                <a:moveTo>
                  <a:pt x="2290984" y="5326824"/>
                </a:moveTo>
                <a:lnTo>
                  <a:pt x="2457222" y="5326824"/>
                </a:lnTo>
                <a:lnTo>
                  <a:pt x="2457222" y="5493062"/>
                </a:lnTo>
                <a:lnTo>
                  <a:pt x="2290984" y="5493062"/>
                </a:lnTo>
                <a:close/>
                <a:moveTo>
                  <a:pt x="714769" y="5326824"/>
                </a:moveTo>
                <a:lnTo>
                  <a:pt x="881007" y="5326824"/>
                </a:lnTo>
                <a:lnTo>
                  <a:pt x="881007" y="5493062"/>
                </a:lnTo>
                <a:lnTo>
                  <a:pt x="714769" y="5493062"/>
                </a:lnTo>
                <a:close/>
                <a:moveTo>
                  <a:pt x="799177" y="4661948"/>
                </a:moveTo>
                <a:lnTo>
                  <a:pt x="92899" y="5368225"/>
                </a:lnTo>
                <a:lnTo>
                  <a:pt x="92899" y="5453322"/>
                </a:lnTo>
                <a:lnTo>
                  <a:pt x="799180" y="6159604"/>
                </a:lnTo>
                <a:lnTo>
                  <a:pt x="1502876" y="5455908"/>
                </a:lnTo>
                <a:lnTo>
                  <a:pt x="1502876" y="5365647"/>
                </a:lnTo>
                <a:close/>
                <a:moveTo>
                  <a:pt x="5527254" y="4661945"/>
                </a:moveTo>
                <a:lnTo>
                  <a:pt x="4821544" y="5367652"/>
                </a:lnTo>
                <a:lnTo>
                  <a:pt x="4821544" y="5453894"/>
                </a:lnTo>
                <a:lnTo>
                  <a:pt x="5527256" y="6159606"/>
                </a:lnTo>
                <a:lnTo>
                  <a:pt x="6231528" y="5455334"/>
                </a:lnTo>
                <a:lnTo>
                  <a:pt x="6231528" y="5366218"/>
                </a:lnTo>
                <a:close/>
                <a:moveTo>
                  <a:pt x="2375205" y="4661945"/>
                </a:moveTo>
                <a:lnTo>
                  <a:pt x="1669114" y="5368035"/>
                </a:lnTo>
                <a:lnTo>
                  <a:pt x="1669114" y="5453517"/>
                </a:lnTo>
                <a:lnTo>
                  <a:pt x="2375200" y="6159604"/>
                </a:lnTo>
                <a:lnTo>
                  <a:pt x="3079091" y="5455713"/>
                </a:lnTo>
                <a:lnTo>
                  <a:pt x="3079091" y="5365833"/>
                </a:lnTo>
                <a:close/>
                <a:moveTo>
                  <a:pt x="3951229" y="4661942"/>
                </a:moveTo>
                <a:lnTo>
                  <a:pt x="3245329" y="5367841"/>
                </a:lnTo>
                <a:lnTo>
                  <a:pt x="3245329" y="5453702"/>
                </a:lnTo>
                <a:lnTo>
                  <a:pt x="3951231" y="6159603"/>
                </a:lnTo>
                <a:lnTo>
                  <a:pt x="4655306" y="5455527"/>
                </a:lnTo>
                <a:lnTo>
                  <a:pt x="4655306" y="5366019"/>
                </a:lnTo>
                <a:close/>
                <a:moveTo>
                  <a:pt x="6231528" y="4541010"/>
                </a:moveTo>
                <a:lnTo>
                  <a:pt x="6397766" y="4541010"/>
                </a:lnTo>
                <a:lnTo>
                  <a:pt x="6397766" y="4707248"/>
                </a:lnTo>
                <a:lnTo>
                  <a:pt x="6231528" y="4707248"/>
                </a:lnTo>
                <a:close/>
                <a:moveTo>
                  <a:pt x="4655306" y="4541010"/>
                </a:moveTo>
                <a:lnTo>
                  <a:pt x="4821544" y="4541010"/>
                </a:lnTo>
                <a:lnTo>
                  <a:pt x="4821544" y="4707248"/>
                </a:lnTo>
                <a:lnTo>
                  <a:pt x="4655306" y="4707248"/>
                </a:lnTo>
                <a:close/>
                <a:moveTo>
                  <a:pt x="3079091" y="4541010"/>
                </a:moveTo>
                <a:lnTo>
                  <a:pt x="3245329" y="4541010"/>
                </a:lnTo>
                <a:lnTo>
                  <a:pt x="3245329" y="4707248"/>
                </a:lnTo>
                <a:lnTo>
                  <a:pt x="3079091" y="4707248"/>
                </a:lnTo>
                <a:close/>
                <a:moveTo>
                  <a:pt x="1502876" y="4541010"/>
                </a:moveTo>
                <a:lnTo>
                  <a:pt x="1669114" y="4541010"/>
                </a:lnTo>
                <a:lnTo>
                  <a:pt x="1669114" y="4707248"/>
                </a:lnTo>
                <a:lnTo>
                  <a:pt x="1502876" y="4707248"/>
                </a:lnTo>
                <a:close/>
                <a:moveTo>
                  <a:pt x="0" y="4541010"/>
                </a:moveTo>
                <a:lnTo>
                  <a:pt x="92899" y="4541010"/>
                </a:lnTo>
                <a:lnTo>
                  <a:pt x="92899" y="4707248"/>
                </a:lnTo>
                <a:lnTo>
                  <a:pt x="0" y="4707248"/>
                </a:lnTo>
                <a:close/>
                <a:moveTo>
                  <a:pt x="4696822" y="3916350"/>
                </a:moveTo>
                <a:lnTo>
                  <a:pt x="3990411" y="4622760"/>
                </a:lnTo>
                <a:lnTo>
                  <a:pt x="4694473" y="5326824"/>
                </a:lnTo>
                <a:lnTo>
                  <a:pt x="4784010" y="5326824"/>
                </a:lnTo>
                <a:lnTo>
                  <a:pt x="5488070" y="4622762"/>
                </a:lnTo>
                <a:lnTo>
                  <a:pt x="4781659" y="3916350"/>
                </a:lnTo>
                <a:close/>
                <a:moveTo>
                  <a:pt x="3120799" y="3916350"/>
                </a:moveTo>
                <a:lnTo>
                  <a:pt x="2414388" y="4622760"/>
                </a:lnTo>
                <a:lnTo>
                  <a:pt x="3118451" y="5326824"/>
                </a:lnTo>
                <a:lnTo>
                  <a:pt x="3207981" y="5326824"/>
                </a:lnTo>
                <a:lnTo>
                  <a:pt x="3912046" y="4622759"/>
                </a:lnTo>
                <a:lnTo>
                  <a:pt x="3205636" y="3916350"/>
                </a:lnTo>
                <a:close/>
                <a:moveTo>
                  <a:pt x="1544776" y="3916350"/>
                </a:moveTo>
                <a:lnTo>
                  <a:pt x="838360" y="4622765"/>
                </a:lnTo>
                <a:lnTo>
                  <a:pt x="1542419" y="5326824"/>
                </a:lnTo>
                <a:lnTo>
                  <a:pt x="1631959" y="5326824"/>
                </a:lnTo>
                <a:lnTo>
                  <a:pt x="2336021" y="4622762"/>
                </a:lnTo>
                <a:lnTo>
                  <a:pt x="1629610" y="3916350"/>
                </a:lnTo>
                <a:close/>
                <a:moveTo>
                  <a:pt x="5443414" y="3750112"/>
                </a:moveTo>
                <a:lnTo>
                  <a:pt x="5609652" y="3750112"/>
                </a:lnTo>
                <a:lnTo>
                  <a:pt x="5609652" y="3916350"/>
                </a:lnTo>
                <a:lnTo>
                  <a:pt x="5443414" y="3916350"/>
                </a:lnTo>
                <a:close/>
                <a:moveTo>
                  <a:pt x="3867199" y="3750112"/>
                </a:moveTo>
                <a:lnTo>
                  <a:pt x="4033437" y="3750112"/>
                </a:lnTo>
                <a:lnTo>
                  <a:pt x="4033437" y="3916350"/>
                </a:lnTo>
                <a:lnTo>
                  <a:pt x="3867199" y="3916350"/>
                </a:lnTo>
                <a:close/>
                <a:moveTo>
                  <a:pt x="2290984" y="3750112"/>
                </a:moveTo>
                <a:lnTo>
                  <a:pt x="2457222" y="3750112"/>
                </a:lnTo>
                <a:lnTo>
                  <a:pt x="2457222" y="3916350"/>
                </a:lnTo>
                <a:lnTo>
                  <a:pt x="2290984" y="3916350"/>
                </a:lnTo>
                <a:close/>
                <a:moveTo>
                  <a:pt x="714769" y="3750112"/>
                </a:moveTo>
                <a:lnTo>
                  <a:pt x="881007" y="3750112"/>
                </a:lnTo>
                <a:lnTo>
                  <a:pt x="881007" y="3916350"/>
                </a:lnTo>
                <a:lnTo>
                  <a:pt x="714769" y="3916350"/>
                </a:lnTo>
                <a:close/>
                <a:moveTo>
                  <a:pt x="3951229" y="3085938"/>
                </a:moveTo>
                <a:lnTo>
                  <a:pt x="3245329" y="3791820"/>
                </a:lnTo>
                <a:lnTo>
                  <a:pt x="3245329" y="3877680"/>
                </a:lnTo>
                <a:lnTo>
                  <a:pt x="3951228" y="4583578"/>
                </a:lnTo>
                <a:lnTo>
                  <a:pt x="4655306" y="3879499"/>
                </a:lnTo>
                <a:lnTo>
                  <a:pt x="4655306" y="3789997"/>
                </a:lnTo>
                <a:close/>
                <a:moveTo>
                  <a:pt x="2375206" y="3085938"/>
                </a:moveTo>
                <a:lnTo>
                  <a:pt x="1669114" y="3792010"/>
                </a:lnTo>
                <a:lnTo>
                  <a:pt x="1669114" y="3877486"/>
                </a:lnTo>
                <a:lnTo>
                  <a:pt x="2375206" y="4583578"/>
                </a:lnTo>
                <a:lnTo>
                  <a:pt x="3079091" y="3879693"/>
                </a:lnTo>
                <a:lnTo>
                  <a:pt x="3079091" y="3789805"/>
                </a:lnTo>
                <a:close/>
                <a:moveTo>
                  <a:pt x="799179" y="3085938"/>
                </a:moveTo>
                <a:lnTo>
                  <a:pt x="92899" y="3792199"/>
                </a:lnTo>
                <a:lnTo>
                  <a:pt x="92899" y="3877303"/>
                </a:lnTo>
                <a:lnTo>
                  <a:pt x="799177" y="4583580"/>
                </a:lnTo>
                <a:lnTo>
                  <a:pt x="1502876" y="3879880"/>
                </a:lnTo>
                <a:lnTo>
                  <a:pt x="1502876" y="3789616"/>
                </a:lnTo>
                <a:close/>
                <a:moveTo>
                  <a:pt x="5527256" y="3085935"/>
                </a:moveTo>
                <a:lnTo>
                  <a:pt x="4821544" y="3791628"/>
                </a:lnTo>
                <a:lnTo>
                  <a:pt x="4821544" y="3877869"/>
                </a:lnTo>
                <a:lnTo>
                  <a:pt x="5527254" y="4583578"/>
                </a:lnTo>
                <a:lnTo>
                  <a:pt x="6231528" y="3879306"/>
                </a:lnTo>
                <a:lnTo>
                  <a:pt x="6231528" y="3790188"/>
                </a:lnTo>
                <a:close/>
                <a:moveTo>
                  <a:pt x="6231528" y="2960178"/>
                </a:moveTo>
                <a:lnTo>
                  <a:pt x="6397766" y="2960178"/>
                </a:lnTo>
                <a:lnTo>
                  <a:pt x="6397766" y="3126416"/>
                </a:lnTo>
                <a:lnTo>
                  <a:pt x="6231528" y="3126416"/>
                </a:lnTo>
                <a:close/>
                <a:moveTo>
                  <a:pt x="4655306" y="2960178"/>
                </a:moveTo>
                <a:lnTo>
                  <a:pt x="4821544" y="2960178"/>
                </a:lnTo>
                <a:lnTo>
                  <a:pt x="4821544" y="3126416"/>
                </a:lnTo>
                <a:lnTo>
                  <a:pt x="4655306" y="3126416"/>
                </a:lnTo>
                <a:close/>
                <a:moveTo>
                  <a:pt x="3079091" y="2960178"/>
                </a:moveTo>
                <a:lnTo>
                  <a:pt x="3245329" y="2960178"/>
                </a:lnTo>
                <a:lnTo>
                  <a:pt x="3245329" y="3126416"/>
                </a:lnTo>
                <a:lnTo>
                  <a:pt x="3079091" y="3126416"/>
                </a:lnTo>
                <a:close/>
                <a:moveTo>
                  <a:pt x="1502876" y="2960178"/>
                </a:moveTo>
                <a:lnTo>
                  <a:pt x="1669114" y="2960178"/>
                </a:lnTo>
                <a:lnTo>
                  <a:pt x="1669114" y="3126416"/>
                </a:lnTo>
                <a:lnTo>
                  <a:pt x="1502876" y="3126416"/>
                </a:lnTo>
                <a:close/>
                <a:moveTo>
                  <a:pt x="0" y="2960178"/>
                </a:moveTo>
                <a:lnTo>
                  <a:pt x="92899" y="2960178"/>
                </a:lnTo>
                <a:lnTo>
                  <a:pt x="92899" y="3126416"/>
                </a:lnTo>
                <a:lnTo>
                  <a:pt x="0" y="3126416"/>
                </a:lnTo>
                <a:close/>
                <a:moveTo>
                  <a:pt x="4700225" y="2336942"/>
                </a:moveTo>
                <a:lnTo>
                  <a:pt x="3990412" y="3046755"/>
                </a:lnTo>
                <a:lnTo>
                  <a:pt x="4693787" y="3750112"/>
                </a:lnTo>
                <a:lnTo>
                  <a:pt x="4784695" y="3750112"/>
                </a:lnTo>
                <a:lnTo>
                  <a:pt x="5488074" y="3046752"/>
                </a:lnTo>
                <a:lnTo>
                  <a:pt x="4778265" y="2336942"/>
                </a:lnTo>
                <a:close/>
                <a:moveTo>
                  <a:pt x="3124202" y="2336942"/>
                </a:moveTo>
                <a:lnTo>
                  <a:pt x="2414388" y="3046757"/>
                </a:lnTo>
                <a:lnTo>
                  <a:pt x="3117760" y="3750112"/>
                </a:lnTo>
                <a:lnTo>
                  <a:pt x="3208672" y="3750112"/>
                </a:lnTo>
                <a:lnTo>
                  <a:pt x="3912046" y="3046757"/>
                </a:lnTo>
                <a:lnTo>
                  <a:pt x="3202233" y="2336942"/>
                </a:lnTo>
                <a:close/>
                <a:moveTo>
                  <a:pt x="1548173" y="2336942"/>
                </a:moveTo>
                <a:lnTo>
                  <a:pt x="838362" y="3046755"/>
                </a:lnTo>
                <a:lnTo>
                  <a:pt x="1541740" y="3750112"/>
                </a:lnTo>
                <a:lnTo>
                  <a:pt x="1632646" y="3750112"/>
                </a:lnTo>
                <a:lnTo>
                  <a:pt x="2336021" y="3046755"/>
                </a:lnTo>
                <a:lnTo>
                  <a:pt x="1626210" y="2336942"/>
                </a:lnTo>
                <a:close/>
                <a:moveTo>
                  <a:pt x="5443414" y="2170704"/>
                </a:moveTo>
                <a:lnTo>
                  <a:pt x="5609652" y="2170704"/>
                </a:lnTo>
                <a:lnTo>
                  <a:pt x="5609652" y="2336940"/>
                </a:lnTo>
                <a:lnTo>
                  <a:pt x="5443414" y="2336940"/>
                </a:lnTo>
                <a:close/>
                <a:moveTo>
                  <a:pt x="3867199" y="2170704"/>
                </a:moveTo>
                <a:lnTo>
                  <a:pt x="4033437" y="2170704"/>
                </a:lnTo>
                <a:lnTo>
                  <a:pt x="4033437" y="2336940"/>
                </a:lnTo>
                <a:lnTo>
                  <a:pt x="3867199" y="2336940"/>
                </a:lnTo>
                <a:close/>
                <a:moveTo>
                  <a:pt x="2290984" y="2170704"/>
                </a:moveTo>
                <a:lnTo>
                  <a:pt x="2457222" y="2170704"/>
                </a:lnTo>
                <a:lnTo>
                  <a:pt x="2457222" y="2336942"/>
                </a:lnTo>
                <a:lnTo>
                  <a:pt x="2290984" y="2336942"/>
                </a:lnTo>
                <a:close/>
                <a:moveTo>
                  <a:pt x="714769" y="2170704"/>
                </a:moveTo>
                <a:lnTo>
                  <a:pt x="881007" y="2170704"/>
                </a:lnTo>
                <a:lnTo>
                  <a:pt x="881007" y="2336942"/>
                </a:lnTo>
                <a:lnTo>
                  <a:pt x="714769" y="2336942"/>
                </a:lnTo>
                <a:close/>
                <a:moveTo>
                  <a:pt x="5527256" y="1509909"/>
                </a:moveTo>
                <a:lnTo>
                  <a:pt x="4821544" y="2215623"/>
                </a:lnTo>
                <a:lnTo>
                  <a:pt x="4821544" y="2301855"/>
                </a:lnTo>
                <a:lnTo>
                  <a:pt x="5527256" y="3007568"/>
                </a:lnTo>
                <a:lnTo>
                  <a:pt x="6231528" y="2303297"/>
                </a:lnTo>
                <a:lnTo>
                  <a:pt x="6231528" y="2214185"/>
                </a:lnTo>
                <a:close/>
                <a:moveTo>
                  <a:pt x="2375203" y="1509909"/>
                </a:moveTo>
                <a:lnTo>
                  <a:pt x="1669114" y="2216003"/>
                </a:lnTo>
                <a:lnTo>
                  <a:pt x="1669114" y="2301483"/>
                </a:lnTo>
                <a:lnTo>
                  <a:pt x="2375203" y="3007574"/>
                </a:lnTo>
                <a:lnTo>
                  <a:pt x="3079091" y="2303684"/>
                </a:lnTo>
                <a:lnTo>
                  <a:pt x="3079091" y="2213801"/>
                </a:lnTo>
                <a:close/>
                <a:moveTo>
                  <a:pt x="799179" y="1509909"/>
                </a:moveTo>
                <a:lnTo>
                  <a:pt x="92899" y="2216191"/>
                </a:lnTo>
                <a:lnTo>
                  <a:pt x="92899" y="2301291"/>
                </a:lnTo>
                <a:lnTo>
                  <a:pt x="799180" y="3007572"/>
                </a:lnTo>
                <a:lnTo>
                  <a:pt x="1502876" y="2303876"/>
                </a:lnTo>
                <a:lnTo>
                  <a:pt x="1502876" y="2213609"/>
                </a:lnTo>
                <a:close/>
                <a:moveTo>
                  <a:pt x="3951234" y="1509908"/>
                </a:moveTo>
                <a:lnTo>
                  <a:pt x="3245329" y="2215815"/>
                </a:lnTo>
                <a:lnTo>
                  <a:pt x="3245329" y="2301672"/>
                </a:lnTo>
                <a:lnTo>
                  <a:pt x="3951229" y="3007574"/>
                </a:lnTo>
                <a:lnTo>
                  <a:pt x="4655306" y="2303494"/>
                </a:lnTo>
                <a:lnTo>
                  <a:pt x="4655306" y="2213984"/>
                </a:lnTo>
                <a:close/>
                <a:moveTo>
                  <a:pt x="6231528" y="1383952"/>
                </a:moveTo>
                <a:lnTo>
                  <a:pt x="6397766" y="1383952"/>
                </a:lnTo>
                <a:lnTo>
                  <a:pt x="6397766" y="1550190"/>
                </a:lnTo>
                <a:lnTo>
                  <a:pt x="6231528" y="1550190"/>
                </a:lnTo>
                <a:close/>
                <a:moveTo>
                  <a:pt x="4655306" y="1383952"/>
                </a:moveTo>
                <a:lnTo>
                  <a:pt x="4821544" y="1383952"/>
                </a:lnTo>
                <a:lnTo>
                  <a:pt x="4821544" y="1550190"/>
                </a:lnTo>
                <a:lnTo>
                  <a:pt x="4655306" y="1550190"/>
                </a:lnTo>
                <a:close/>
                <a:moveTo>
                  <a:pt x="3079091" y="1383952"/>
                </a:moveTo>
                <a:lnTo>
                  <a:pt x="3245329" y="1383952"/>
                </a:lnTo>
                <a:lnTo>
                  <a:pt x="3245329" y="1550190"/>
                </a:lnTo>
                <a:lnTo>
                  <a:pt x="3079091" y="1550190"/>
                </a:lnTo>
                <a:close/>
                <a:moveTo>
                  <a:pt x="1502876" y="1383952"/>
                </a:moveTo>
                <a:lnTo>
                  <a:pt x="1669114" y="1383952"/>
                </a:lnTo>
                <a:lnTo>
                  <a:pt x="1669114" y="1550190"/>
                </a:lnTo>
                <a:lnTo>
                  <a:pt x="1502876" y="1550190"/>
                </a:lnTo>
                <a:close/>
                <a:moveTo>
                  <a:pt x="0" y="1383952"/>
                </a:moveTo>
                <a:lnTo>
                  <a:pt x="92899" y="1383952"/>
                </a:lnTo>
                <a:lnTo>
                  <a:pt x="92899" y="1550190"/>
                </a:lnTo>
                <a:lnTo>
                  <a:pt x="0" y="1550190"/>
                </a:lnTo>
                <a:close/>
                <a:moveTo>
                  <a:pt x="4696046" y="765093"/>
                </a:moveTo>
                <a:lnTo>
                  <a:pt x="3990417" y="1470726"/>
                </a:lnTo>
                <a:lnTo>
                  <a:pt x="4690393" y="2170704"/>
                </a:lnTo>
                <a:lnTo>
                  <a:pt x="4788097" y="2170704"/>
                </a:lnTo>
                <a:lnTo>
                  <a:pt x="5488072" y="1470727"/>
                </a:lnTo>
                <a:lnTo>
                  <a:pt x="4782441" y="765093"/>
                </a:lnTo>
                <a:close/>
                <a:moveTo>
                  <a:pt x="3120017" y="765093"/>
                </a:moveTo>
                <a:lnTo>
                  <a:pt x="2414386" y="1470727"/>
                </a:lnTo>
                <a:lnTo>
                  <a:pt x="3114359" y="2170704"/>
                </a:lnTo>
                <a:lnTo>
                  <a:pt x="3212073" y="2170704"/>
                </a:lnTo>
                <a:lnTo>
                  <a:pt x="3912049" y="1470724"/>
                </a:lnTo>
                <a:lnTo>
                  <a:pt x="3206421" y="765093"/>
                </a:lnTo>
                <a:close/>
                <a:moveTo>
                  <a:pt x="1543993" y="765093"/>
                </a:moveTo>
                <a:lnTo>
                  <a:pt x="838360" y="1470729"/>
                </a:lnTo>
                <a:lnTo>
                  <a:pt x="1538333" y="2170704"/>
                </a:lnTo>
                <a:lnTo>
                  <a:pt x="1636050" y="2170704"/>
                </a:lnTo>
                <a:lnTo>
                  <a:pt x="2336021" y="1470729"/>
                </a:lnTo>
                <a:lnTo>
                  <a:pt x="1630389" y="765093"/>
                </a:lnTo>
                <a:close/>
                <a:moveTo>
                  <a:pt x="714769" y="598857"/>
                </a:moveTo>
                <a:lnTo>
                  <a:pt x="881007" y="598857"/>
                </a:lnTo>
                <a:lnTo>
                  <a:pt x="881007" y="765093"/>
                </a:lnTo>
                <a:lnTo>
                  <a:pt x="714769" y="765093"/>
                </a:lnTo>
                <a:close/>
                <a:moveTo>
                  <a:pt x="5443414" y="598855"/>
                </a:moveTo>
                <a:lnTo>
                  <a:pt x="5609652" y="598855"/>
                </a:lnTo>
                <a:lnTo>
                  <a:pt x="5609652" y="765093"/>
                </a:lnTo>
                <a:lnTo>
                  <a:pt x="5443414" y="765093"/>
                </a:lnTo>
                <a:close/>
                <a:moveTo>
                  <a:pt x="3867199" y="598855"/>
                </a:moveTo>
                <a:lnTo>
                  <a:pt x="4033437" y="598855"/>
                </a:lnTo>
                <a:lnTo>
                  <a:pt x="4033437" y="765093"/>
                </a:lnTo>
                <a:lnTo>
                  <a:pt x="3867199" y="765093"/>
                </a:lnTo>
                <a:close/>
                <a:moveTo>
                  <a:pt x="2290984" y="598855"/>
                </a:moveTo>
                <a:lnTo>
                  <a:pt x="2457222" y="598855"/>
                </a:lnTo>
                <a:lnTo>
                  <a:pt x="2457222" y="765093"/>
                </a:lnTo>
                <a:lnTo>
                  <a:pt x="2290984" y="765093"/>
                </a:lnTo>
                <a:close/>
                <a:moveTo>
                  <a:pt x="865294" y="0"/>
                </a:moveTo>
                <a:lnTo>
                  <a:pt x="943660" y="0"/>
                </a:lnTo>
                <a:lnTo>
                  <a:pt x="1542517" y="598855"/>
                </a:lnTo>
                <a:lnTo>
                  <a:pt x="1631863" y="598855"/>
                </a:lnTo>
                <a:lnTo>
                  <a:pt x="2230720" y="2"/>
                </a:lnTo>
                <a:lnTo>
                  <a:pt x="2309086" y="2"/>
                </a:lnTo>
                <a:lnTo>
                  <a:pt x="1669114" y="639972"/>
                </a:lnTo>
                <a:lnTo>
                  <a:pt x="1669114" y="725454"/>
                </a:lnTo>
                <a:lnTo>
                  <a:pt x="2375205" y="1431548"/>
                </a:lnTo>
                <a:lnTo>
                  <a:pt x="3079091" y="727656"/>
                </a:lnTo>
                <a:lnTo>
                  <a:pt x="3079091" y="637764"/>
                </a:lnTo>
                <a:lnTo>
                  <a:pt x="2441326" y="0"/>
                </a:lnTo>
                <a:lnTo>
                  <a:pt x="2519691" y="0"/>
                </a:lnTo>
                <a:lnTo>
                  <a:pt x="3118549" y="598855"/>
                </a:lnTo>
                <a:lnTo>
                  <a:pt x="3207892" y="598855"/>
                </a:lnTo>
                <a:lnTo>
                  <a:pt x="3806747" y="2"/>
                </a:lnTo>
                <a:lnTo>
                  <a:pt x="3885110" y="2"/>
                </a:lnTo>
                <a:lnTo>
                  <a:pt x="3245329" y="639781"/>
                </a:lnTo>
                <a:lnTo>
                  <a:pt x="3245329" y="725636"/>
                </a:lnTo>
                <a:lnTo>
                  <a:pt x="3951232" y="1431543"/>
                </a:lnTo>
                <a:lnTo>
                  <a:pt x="4655306" y="727464"/>
                </a:lnTo>
                <a:lnTo>
                  <a:pt x="4655306" y="637959"/>
                </a:lnTo>
                <a:lnTo>
                  <a:pt x="4017346" y="0"/>
                </a:lnTo>
                <a:lnTo>
                  <a:pt x="4095712" y="0"/>
                </a:lnTo>
                <a:lnTo>
                  <a:pt x="4694569" y="598855"/>
                </a:lnTo>
                <a:lnTo>
                  <a:pt x="4783915" y="598855"/>
                </a:lnTo>
                <a:lnTo>
                  <a:pt x="5382768" y="5"/>
                </a:lnTo>
                <a:lnTo>
                  <a:pt x="5461138" y="5"/>
                </a:lnTo>
                <a:lnTo>
                  <a:pt x="4821544" y="639597"/>
                </a:lnTo>
                <a:lnTo>
                  <a:pt x="4821544" y="725832"/>
                </a:lnTo>
                <a:lnTo>
                  <a:pt x="5527256" y="1431546"/>
                </a:lnTo>
                <a:lnTo>
                  <a:pt x="6231528" y="727271"/>
                </a:lnTo>
                <a:lnTo>
                  <a:pt x="6231528" y="638155"/>
                </a:lnTo>
                <a:lnTo>
                  <a:pt x="5593370" y="0"/>
                </a:lnTo>
                <a:lnTo>
                  <a:pt x="5671736" y="0"/>
                </a:lnTo>
                <a:lnTo>
                  <a:pt x="6270594" y="598855"/>
                </a:lnTo>
                <a:lnTo>
                  <a:pt x="6359942" y="598855"/>
                </a:lnTo>
                <a:lnTo>
                  <a:pt x="6793614" y="165185"/>
                </a:lnTo>
                <a:lnTo>
                  <a:pt x="6793614" y="243550"/>
                </a:lnTo>
                <a:lnTo>
                  <a:pt x="6397766" y="639399"/>
                </a:lnTo>
                <a:lnTo>
                  <a:pt x="6397766" y="726027"/>
                </a:lnTo>
                <a:lnTo>
                  <a:pt x="6793616" y="1121891"/>
                </a:lnTo>
                <a:lnTo>
                  <a:pt x="6793616" y="1200251"/>
                </a:lnTo>
                <a:lnTo>
                  <a:pt x="6358466" y="765093"/>
                </a:lnTo>
                <a:lnTo>
                  <a:pt x="6272072" y="765093"/>
                </a:lnTo>
                <a:lnTo>
                  <a:pt x="5566438" y="1470727"/>
                </a:lnTo>
                <a:lnTo>
                  <a:pt x="6266412" y="2170702"/>
                </a:lnTo>
                <a:lnTo>
                  <a:pt x="6364122" y="2170702"/>
                </a:lnTo>
                <a:lnTo>
                  <a:pt x="6793618" y="1741208"/>
                </a:lnTo>
                <a:lnTo>
                  <a:pt x="6793618" y="1819573"/>
                </a:lnTo>
                <a:lnTo>
                  <a:pt x="6397766" y="2215425"/>
                </a:lnTo>
                <a:lnTo>
                  <a:pt x="6397766" y="2302058"/>
                </a:lnTo>
                <a:lnTo>
                  <a:pt x="6793618" y="2697911"/>
                </a:lnTo>
                <a:lnTo>
                  <a:pt x="6793618" y="2776276"/>
                </a:lnTo>
                <a:lnTo>
                  <a:pt x="6354284" y="2336940"/>
                </a:lnTo>
                <a:lnTo>
                  <a:pt x="6276248" y="2336940"/>
                </a:lnTo>
                <a:lnTo>
                  <a:pt x="5566440" y="3046751"/>
                </a:lnTo>
                <a:lnTo>
                  <a:pt x="6269820" y="3750112"/>
                </a:lnTo>
                <a:lnTo>
                  <a:pt x="6360722" y="3750112"/>
                </a:lnTo>
                <a:lnTo>
                  <a:pt x="6793618" y="3317216"/>
                </a:lnTo>
                <a:lnTo>
                  <a:pt x="6793616" y="3395581"/>
                </a:lnTo>
                <a:lnTo>
                  <a:pt x="6397766" y="3791431"/>
                </a:lnTo>
                <a:lnTo>
                  <a:pt x="6397766" y="3878056"/>
                </a:lnTo>
                <a:lnTo>
                  <a:pt x="6793622" y="4273913"/>
                </a:lnTo>
                <a:lnTo>
                  <a:pt x="6793620" y="4352281"/>
                </a:lnTo>
                <a:lnTo>
                  <a:pt x="6357690" y="3916350"/>
                </a:lnTo>
                <a:lnTo>
                  <a:pt x="6272846" y="3916350"/>
                </a:lnTo>
                <a:lnTo>
                  <a:pt x="5566436" y="4622762"/>
                </a:lnTo>
                <a:lnTo>
                  <a:pt x="6270498" y="5326824"/>
                </a:lnTo>
                <a:lnTo>
                  <a:pt x="6360038" y="5326824"/>
                </a:lnTo>
                <a:lnTo>
                  <a:pt x="6793616" y="4893244"/>
                </a:lnTo>
                <a:lnTo>
                  <a:pt x="6793616" y="4971610"/>
                </a:lnTo>
                <a:lnTo>
                  <a:pt x="6397766" y="5367459"/>
                </a:lnTo>
                <a:lnTo>
                  <a:pt x="6397766" y="5454090"/>
                </a:lnTo>
                <a:lnTo>
                  <a:pt x="6793618" y="5849942"/>
                </a:lnTo>
                <a:lnTo>
                  <a:pt x="6793618" y="5928308"/>
                </a:lnTo>
                <a:lnTo>
                  <a:pt x="6358370" y="5493062"/>
                </a:lnTo>
                <a:lnTo>
                  <a:pt x="6272162" y="5493062"/>
                </a:lnTo>
                <a:lnTo>
                  <a:pt x="5566436" y="6198789"/>
                </a:lnTo>
                <a:lnTo>
                  <a:pt x="6225650" y="6858001"/>
                </a:lnTo>
                <a:lnTo>
                  <a:pt x="6147288" y="6858000"/>
                </a:lnTo>
                <a:lnTo>
                  <a:pt x="5527256" y="6237969"/>
                </a:lnTo>
                <a:lnTo>
                  <a:pt x="4907224" y="6858001"/>
                </a:lnTo>
                <a:lnTo>
                  <a:pt x="4828858" y="6858001"/>
                </a:lnTo>
                <a:lnTo>
                  <a:pt x="5488074" y="6198786"/>
                </a:lnTo>
                <a:lnTo>
                  <a:pt x="4782349" y="5493062"/>
                </a:lnTo>
                <a:lnTo>
                  <a:pt x="4696135" y="5493062"/>
                </a:lnTo>
                <a:lnTo>
                  <a:pt x="3990412" y="6198785"/>
                </a:lnTo>
                <a:lnTo>
                  <a:pt x="4649627" y="6858000"/>
                </a:lnTo>
                <a:lnTo>
                  <a:pt x="4571260" y="6858001"/>
                </a:lnTo>
                <a:lnTo>
                  <a:pt x="3951228" y="6237969"/>
                </a:lnTo>
                <a:lnTo>
                  <a:pt x="3331197" y="6858001"/>
                </a:lnTo>
                <a:lnTo>
                  <a:pt x="3252832" y="6858001"/>
                </a:lnTo>
                <a:lnTo>
                  <a:pt x="3912046" y="6198788"/>
                </a:lnTo>
                <a:lnTo>
                  <a:pt x="3206320" y="5493062"/>
                </a:lnTo>
                <a:lnTo>
                  <a:pt x="3120109" y="5493062"/>
                </a:lnTo>
                <a:lnTo>
                  <a:pt x="2414383" y="6198788"/>
                </a:lnTo>
                <a:lnTo>
                  <a:pt x="3073600" y="6858003"/>
                </a:lnTo>
                <a:lnTo>
                  <a:pt x="2995232" y="6858003"/>
                </a:lnTo>
                <a:lnTo>
                  <a:pt x="2375200" y="6237971"/>
                </a:lnTo>
                <a:lnTo>
                  <a:pt x="1755169" y="6858001"/>
                </a:lnTo>
                <a:lnTo>
                  <a:pt x="1676803" y="6858001"/>
                </a:lnTo>
                <a:lnTo>
                  <a:pt x="2336017" y="6198788"/>
                </a:lnTo>
                <a:lnTo>
                  <a:pt x="1630291" y="5493062"/>
                </a:lnTo>
                <a:lnTo>
                  <a:pt x="1544086" y="5493062"/>
                </a:lnTo>
                <a:lnTo>
                  <a:pt x="838362" y="6198786"/>
                </a:lnTo>
                <a:lnTo>
                  <a:pt x="1497577" y="6858001"/>
                </a:lnTo>
                <a:lnTo>
                  <a:pt x="1419208" y="6858001"/>
                </a:lnTo>
                <a:lnTo>
                  <a:pt x="799177" y="6237971"/>
                </a:lnTo>
                <a:lnTo>
                  <a:pt x="179143" y="6858004"/>
                </a:lnTo>
                <a:lnTo>
                  <a:pt x="100780" y="6858004"/>
                </a:lnTo>
                <a:lnTo>
                  <a:pt x="759995" y="6198789"/>
                </a:lnTo>
                <a:lnTo>
                  <a:pt x="54270" y="5493062"/>
                </a:lnTo>
                <a:lnTo>
                  <a:pt x="0" y="5493062"/>
                </a:lnTo>
                <a:lnTo>
                  <a:pt x="0" y="5326824"/>
                </a:lnTo>
                <a:lnTo>
                  <a:pt x="55933" y="5326824"/>
                </a:lnTo>
                <a:lnTo>
                  <a:pt x="759994" y="4622763"/>
                </a:lnTo>
                <a:lnTo>
                  <a:pt x="53580" y="3916350"/>
                </a:lnTo>
                <a:lnTo>
                  <a:pt x="0" y="3916350"/>
                </a:lnTo>
                <a:lnTo>
                  <a:pt x="0" y="3750112"/>
                </a:lnTo>
                <a:lnTo>
                  <a:pt x="56622" y="3750112"/>
                </a:lnTo>
                <a:lnTo>
                  <a:pt x="759997" y="3046757"/>
                </a:lnTo>
                <a:lnTo>
                  <a:pt x="50184" y="2336942"/>
                </a:lnTo>
                <a:lnTo>
                  <a:pt x="0" y="2336942"/>
                </a:lnTo>
                <a:lnTo>
                  <a:pt x="0" y="2170704"/>
                </a:lnTo>
                <a:lnTo>
                  <a:pt x="60021" y="2170704"/>
                </a:lnTo>
                <a:lnTo>
                  <a:pt x="759995" y="1470727"/>
                </a:lnTo>
                <a:lnTo>
                  <a:pt x="54366" y="765093"/>
                </a:lnTo>
                <a:lnTo>
                  <a:pt x="0" y="765093"/>
                </a:lnTo>
                <a:lnTo>
                  <a:pt x="0" y="598857"/>
                </a:lnTo>
                <a:lnTo>
                  <a:pt x="55839" y="598857"/>
                </a:lnTo>
                <a:lnTo>
                  <a:pt x="654694" y="2"/>
                </a:lnTo>
                <a:lnTo>
                  <a:pt x="733060" y="2"/>
                </a:lnTo>
                <a:lnTo>
                  <a:pt x="92899" y="640162"/>
                </a:lnTo>
                <a:lnTo>
                  <a:pt x="92899" y="725264"/>
                </a:lnTo>
                <a:lnTo>
                  <a:pt x="799177" y="1431548"/>
                </a:lnTo>
                <a:lnTo>
                  <a:pt x="1502876" y="727845"/>
                </a:lnTo>
                <a:lnTo>
                  <a:pt x="1502876" y="6375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328482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77240" y="1049866"/>
            <a:ext cx="10637520" cy="5909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777239" y="2751892"/>
            <a:ext cx="1080047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dirty="0">
                <a:latin typeface="+mj-lt"/>
              </a:rPr>
              <a:t>“São aqueles relacionados com a comercialização, distribuição, prescrição e uso de medicamentos em uma sociedade, com ênfase sobre as consequências médicas, sociais e econômicas resultantes” </a:t>
            </a:r>
          </a:p>
          <a:p>
            <a:endParaRPr lang="pt-BR" sz="3600" dirty="0">
              <a:latin typeface="+mj-lt"/>
            </a:endParaRPr>
          </a:p>
          <a:p>
            <a:r>
              <a:rPr lang="pt-BR" sz="3600" dirty="0">
                <a:latin typeface="+mj-lt"/>
              </a:rPr>
              <a:t>(WHO, 1977; PNM, 1998) </a:t>
            </a:r>
          </a:p>
        </p:txBody>
      </p:sp>
    </p:spTree>
    <p:extLst>
      <p:ext uri="{BB962C8B-B14F-4D97-AF65-F5344CB8AC3E}">
        <p14:creationId xmlns:p14="http://schemas.microsoft.com/office/powerpoint/2010/main" val="35148252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77240" y="1049866"/>
            <a:ext cx="10637520" cy="5909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777239" y="2751892"/>
            <a:ext cx="1080047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dirty="0">
                <a:latin typeface="+mj-lt"/>
              </a:rPr>
              <a:t>“Análise do uso de medicamentos, aplicados no cuidado à saúde em relação aos padrões e critérios </a:t>
            </a:r>
            <a:r>
              <a:rPr lang="pt-BR" sz="3600" dirty="0" err="1">
                <a:latin typeface="+mj-lt"/>
              </a:rPr>
              <a:t>prédeterminados</a:t>
            </a:r>
            <a:r>
              <a:rPr lang="pt-BR" sz="3600" dirty="0">
                <a:latin typeface="+mj-lt"/>
              </a:rPr>
              <a:t> de uso apropriado das farmacoterapias”</a:t>
            </a:r>
          </a:p>
          <a:p>
            <a:r>
              <a:rPr lang="pt-BR" sz="3600" dirty="0">
                <a:latin typeface="+mj-lt"/>
              </a:rPr>
              <a:t> </a:t>
            </a:r>
          </a:p>
          <a:p>
            <a:r>
              <a:rPr lang="pt-BR" sz="3600" dirty="0">
                <a:latin typeface="+mj-lt"/>
              </a:rPr>
              <a:t>(Farmacopeia Americana apud </a:t>
            </a:r>
            <a:r>
              <a:rPr lang="pt-BR" sz="3600" dirty="0" err="1">
                <a:latin typeface="+mj-lt"/>
              </a:rPr>
              <a:t>Crozara</a:t>
            </a:r>
            <a:r>
              <a:rPr lang="pt-BR" sz="3600" dirty="0">
                <a:latin typeface="+mj-lt"/>
              </a:rPr>
              <a:t> MA, Ribeiro, 2005) </a:t>
            </a:r>
          </a:p>
        </p:txBody>
      </p:sp>
    </p:spTree>
    <p:extLst>
      <p:ext uri="{BB962C8B-B14F-4D97-AF65-F5344CB8AC3E}">
        <p14:creationId xmlns:p14="http://schemas.microsoft.com/office/powerpoint/2010/main" val="4179607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77240" y="1049866"/>
            <a:ext cx="10637520" cy="5909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rtlCol="0">
            <a:spAutoFit/>
          </a:bodyPr>
          <a:lstStyle/>
          <a:p>
            <a:pPr marL="91440" indent="-91440" algn="ctr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</a:pPr>
            <a:r>
              <a:rPr lang="pt-BR" sz="3600" b="1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udos de utilização de medicamentos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4459BDFA-24F0-4677-AFAF-4928840FFAB1}"/>
              </a:ext>
            </a:extLst>
          </p:cNvPr>
          <p:cNvSpPr/>
          <p:nvPr/>
        </p:nvSpPr>
        <p:spPr>
          <a:xfrm>
            <a:off x="777239" y="2751892"/>
            <a:ext cx="1080047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dirty="0">
                <a:latin typeface="+mj-lt"/>
              </a:rPr>
              <a:t>“Avaliação da utilização dos medicamentos em uma sociedade, do papel deste nesta sociedade e também servir de informação para ações regulamentadoras, como intervenções no uso racional de medicamentos ou no monitoramento econômico dos preços” </a:t>
            </a:r>
          </a:p>
          <a:p>
            <a:endParaRPr lang="pt-BR" sz="3600" dirty="0">
              <a:latin typeface="+mj-lt"/>
            </a:endParaRPr>
          </a:p>
          <a:p>
            <a:r>
              <a:rPr lang="pt-BR" sz="3600" dirty="0">
                <a:latin typeface="+mj-lt"/>
              </a:rPr>
              <a:t>(Osorio-de-Castro, 2000; </a:t>
            </a:r>
            <a:r>
              <a:rPr lang="pt-BR" sz="3600" dirty="0" err="1">
                <a:latin typeface="+mj-lt"/>
              </a:rPr>
              <a:t>Laporte</a:t>
            </a:r>
            <a:r>
              <a:rPr lang="pt-BR" sz="3600" dirty="0">
                <a:latin typeface="+mj-lt"/>
              </a:rPr>
              <a:t> et al, 1993 apud Pepe, 1994)  </a:t>
            </a:r>
          </a:p>
        </p:txBody>
      </p:sp>
    </p:spTree>
    <p:extLst>
      <p:ext uri="{BB962C8B-B14F-4D97-AF65-F5344CB8AC3E}">
        <p14:creationId xmlns:p14="http://schemas.microsoft.com/office/powerpoint/2010/main" val="38033324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534949"/>
      </a:dk2>
      <a:lt2>
        <a:srgbClr val="CCD1B9"/>
      </a:lt2>
      <a:accent1>
        <a:srgbClr val="C66951"/>
      </a:accent1>
      <a:accent2>
        <a:srgbClr val="BF974D"/>
      </a:accent2>
      <a:accent3>
        <a:srgbClr val="928B70"/>
      </a:accent3>
      <a:accent4>
        <a:srgbClr val="87706B"/>
      </a:accent4>
      <a:accent5>
        <a:srgbClr val="94734E"/>
      </a:accent5>
      <a:accent6>
        <a:srgbClr val="6F777D"/>
      </a:accent6>
      <a:hlink>
        <a:srgbClr val="CC9900"/>
      </a:hlink>
      <a:folHlink>
        <a:srgbClr val="C0C0C0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125000"/>
              </a:schemeClr>
              <a:schemeClr val="phClr">
                <a:tint val="92000"/>
                <a:shade val="70000"/>
                <a:satMod val="110000"/>
              </a:schemeClr>
            </a:duotone>
          </a:blip>
          <a:tile tx="0" ty="0" sx="22000" sy="22000" flip="none" algn="tl"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Integral" id="{3577F8C9-A904-41D8-97D2-FD898F53F20E}" vid="{E736489A-00C3-4E0A-AAA8-D4D3127BA5B3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</TotalTime>
  <Words>1237</Words>
  <Application>Microsoft Office PowerPoint</Application>
  <PresentationFormat>Personalizar</PresentationFormat>
  <Paragraphs>139</Paragraphs>
  <Slides>16</Slides>
  <Notes>9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17" baseType="lpstr">
      <vt:lpstr>Integral</vt:lpstr>
      <vt:lpstr>Revisão da aula 01 Farmacoepidemiologia  Onde estamos?</vt:lpstr>
      <vt:lpstr> O que é a Farmacoepidemiologia? </vt:lpstr>
      <vt:lpstr> Onde o farmacêutico usa este conhecimento em nosso dia-a-dia? </vt:lpstr>
      <vt:lpstr> Onde o farmacêutico usa este conhecimento em nosso dia-a-dia? </vt:lpstr>
      <vt:lpstr> Onde o farmacêutico usa este conhecimento em nosso dia-a-dia? </vt:lpstr>
      <vt:lpstr>ESTUDOS DE UTILIZAÇÃO DE MEDICAMENTOSdemiologia</vt:lpstr>
      <vt:lpstr>Estudos de utilização de medicamentos</vt:lpstr>
      <vt:lpstr>Estudos de utilização de medicamentos</vt:lpstr>
      <vt:lpstr>Estudos de utilização de medicament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Referênci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UDOS DE UTILIZAÇÃO DE MEDICAMENTOSdemiologia</dc:title>
  <dc:creator>Victor Verrillo</dc:creator>
  <cp:lastModifiedBy>Adriane Lopes Medeiros</cp:lastModifiedBy>
  <cp:revision>15</cp:revision>
  <dcterms:created xsi:type="dcterms:W3CDTF">2020-03-03T04:47:05Z</dcterms:created>
  <dcterms:modified xsi:type="dcterms:W3CDTF">2021-04-20T13:15:43Z</dcterms:modified>
</cp:coreProperties>
</file>